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744" r:id="rId5"/>
    <p:sldId id="2708" r:id="rId6"/>
    <p:sldId id="2709" r:id="rId7"/>
    <p:sldId id="2713" r:id="rId8"/>
  </p:sldIdLst>
  <p:sldSz cx="12192000" cy="6858000"/>
  <p:notesSz cx="6797675" cy="9926638"/>
  <p:custDataLst>
    <p:tags r:id="rId11"/>
  </p:custDataLst>
  <p:defaultTextStyle>
    <a:defPPr>
      <a:defRPr lang="en-US"/>
    </a:defPPr>
    <a:lvl1pPr marL="211647" indent="-211647" algn="l" defTabSz="846587" rtl="0" eaLnBrk="1" latinLnBrk="0" hangingPunct="1">
      <a:spcBef>
        <a:spcPts val="1200"/>
      </a:spcBef>
      <a:buChar char="•"/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23293" indent="-211647" algn="l" defTabSz="846587" rtl="0" eaLnBrk="1" latinLnBrk="0" hangingPunct="1">
      <a:spcBef>
        <a:spcPts val="600"/>
      </a:spcBef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634940" indent="-211647" algn="l" defTabSz="846587" rtl="0" eaLnBrk="1" latinLnBrk="0" hangingPunct="1">
      <a:spcBef>
        <a:spcPts val="600"/>
      </a:spcBef>
      <a:buChar char="&gt;"/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846587" indent="-211647" algn="l" defTabSz="846587" rtl="0" eaLnBrk="1" latinLnBrk="0" hangingPunct="1">
      <a:spcBef>
        <a:spcPts val="600"/>
      </a:spcBef>
      <a:buChar char="–"/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1058234" indent="-211647" algn="l" defTabSz="846587" rtl="0" eaLnBrk="1" latinLnBrk="0" hangingPunct="1">
      <a:spcBef>
        <a:spcPts val="600"/>
      </a:spcBef>
      <a:buChar char="&gt;"/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1269880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1481527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1693174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1904820" indent="-211647" algn="l" defTabSz="84658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13E511-5DC5-E9B4-4436-C553980EFABA}" name="Matthews, Carole" initials="MC" userId="S::Carole.Matthews@bridgespan.org::0ea74e0c-175f-47ce-9967-f2a341b95df6" providerId="AD"/>
  <p188:author id="{00B6EC53-96FF-0617-F11A-C36AB2571BCC}" name="Nayak, Preeta" initials="NP" userId="S::Preeta.Nayak@bridgespan.org::e4db5cc2-4bac-405f-8cd0-9d0d5bffbf73" providerId="AD"/>
  <p188:author id="{B31DAA80-C4BC-1F82-40C0-F2DE8ECB3244}" name="Matthews, Carole" initials="MC" userId="S::carole.matthews@bridgespan.org::0ea74e0c-175f-47ce-9967-f2a341b95df6" providerId="AD"/>
  <p188:author id="{6B1E9097-BF65-923F-CF56-5F849E47B10E}" name="Lanzerotti, Laura" initials="LL" userId="S::Laura.Lanzerotti@bridgespan.org::f1196b6c-2ce8-43b2-9ae5-a3067aee2f46" providerId="AD"/>
  <p188:author id="{5DF591B7-112D-5563-36C2-63359388DEE0}" name="Alyssa Isakower" initials="AI" userId="Alyssa Isakower" providerId="None"/>
  <p188:author id="{EEAFDBBC-FD93-B7F0-5D75-4CE48A3D90DD}" name="Lanzerotti, Laura" initials="LL" userId="S::laura.lanzerotti@bridgespan.org::f1196b6c-2ce8-43b2-9ae5-a3067aee2f46" providerId="AD"/>
  <p188:author id="{5F7D0CDB-3C32-8EA6-F3AE-BA995E623CEE}" name="Waldron, Lindsey" initials="WL" userId="S::Lindsey.Waldron@bridgespan.org::abc8b14f-824b-4fea-8423-0fffe9dd6e6d" providerId="AD"/>
  <p188:author id="{5CCC34F0-1615-9320-3791-D851A3BCCB79}" name="Mehta, Nishi" initials="MN" userId="S::Nishi.Mehta@bridgespan.org::38de6509-6b79-4d26-bc8a-74e6859e6df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C9BE"/>
    <a:srgbClr val="83AC9A"/>
    <a:srgbClr val="FAEEC3"/>
    <a:srgbClr val="F2BFBF"/>
    <a:srgbClr val="B1DCFF"/>
    <a:srgbClr val="FFCF01"/>
    <a:srgbClr val="5C5C5C"/>
    <a:srgbClr val="E9EAEB"/>
    <a:srgbClr val="FFFFFF"/>
    <a:srgbClr val="F2DE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70E8A9-4A3F-4288-A167-9A90B997A8A3}" v="7" dt="2024-11-27T14:30:51.685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prstClr val="white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20" y="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tthews, Carole" userId="0ea74e0c-175f-47ce-9967-f2a341b95df6" providerId="ADAL" clId="{0370E8A9-4A3F-4288-A167-9A90B997A8A3}"/>
    <pc:docChg chg="custSel delSld modSld replTag">
      <pc:chgData name="Matthews, Carole" userId="0ea74e0c-175f-47ce-9967-f2a341b95df6" providerId="ADAL" clId="{0370E8A9-4A3F-4288-A167-9A90B997A8A3}" dt="2024-11-27T14:30:15.021" v="97" actId="20577"/>
      <pc:docMkLst>
        <pc:docMk/>
      </pc:docMkLst>
      <pc:sldChg chg="modSp mod">
        <pc:chgData name="Matthews, Carole" userId="0ea74e0c-175f-47ce-9967-f2a341b95df6" providerId="ADAL" clId="{0370E8A9-4A3F-4288-A167-9A90B997A8A3}" dt="2024-11-27T14:30:15.021" v="97" actId="20577"/>
        <pc:sldMkLst>
          <pc:docMk/>
          <pc:sldMk cId="1871561926" sldId="2708"/>
        </pc:sldMkLst>
        <pc:spChg chg="mod">
          <ac:chgData name="Matthews, Carole" userId="0ea74e0c-175f-47ce-9967-f2a341b95df6" providerId="ADAL" clId="{0370E8A9-4A3F-4288-A167-9A90B997A8A3}" dt="2024-11-27T14:30:15.021" v="97" actId="20577"/>
          <ac:spMkLst>
            <pc:docMk/>
            <pc:sldMk cId="1871561926" sldId="2708"/>
            <ac:spMk id="4" creationId="{FCE9A3F1-287B-2DA3-6AF2-626BA7DCDB2C}"/>
          </ac:spMkLst>
        </pc:spChg>
      </pc:sldChg>
      <pc:sldChg chg="modSp mod">
        <pc:chgData name="Matthews, Carole" userId="0ea74e0c-175f-47ce-9967-f2a341b95df6" providerId="ADAL" clId="{0370E8A9-4A3F-4288-A167-9A90B997A8A3}" dt="2024-11-21T18:59:24.341" v="21" actId="20577"/>
        <pc:sldMkLst>
          <pc:docMk/>
          <pc:sldMk cId="4238601090" sldId="2713"/>
        </pc:sldMkLst>
        <pc:spChg chg="mod">
          <ac:chgData name="Matthews, Carole" userId="0ea74e0c-175f-47ce-9967-f2a341b95df6" providerId="ADAL" clId="{0370E8A9-4A3F-4288-A167-9A90B997A8A3}" dt="2024-11-21T18:59:24.341" v="21" actId="20577"/>
          <ac:spMkLst>
            <pc:docMk/>
            <pc:sldMk cId="4238601090" sldId="2713"/>
            <ac:spMk id="15" creationId="{5CAF2E4C-F19C-B5DD-0DB4-B4224DAA6515}"/>
          </ac:spMkLst>
        </pc:spChg>
      </pc:sldChg>
      <pc:sldChg chg="addSp delSp modSp mod">
        <pc:chgData name="Matthews, Carole" userId="0ea74e0c-175f-47ce-9967-f2a341b95df6" providerId="ADAL" clId="{0370E8A9-4A3F-4288-A167-9A90B997A8A3}" dt="2024-11-21T18:59:48.222" v="90" actId="20577"/>
        <pc:sldMkLst>
          <pc:docMk/>
          <pc:sldMk cId="3346393039" sldId="2744"/>
        </pc:sldMkLst>
        <pc:spChg chg="mod">
          <ac:chgData name="Matthews, Carole" userId="0ea74e0c-175f-47ce-9967-f2a341b95df6" providerId="ADAL" clId="{0370E8A9-4A3F-4288-A167-9A90B997A8A3}" dt="2024-11-21T18:59:48.222" v="90" actId="20577"/>
          <ac:spMkLst>
            <pc:docMk/>
            <pc:sldMk cId="3346393039" sldId="2744"/>
            <ac:spMk id="2" creationId="{94E5C4D3-BDBE-73D0-2AC4-015C924C0058}"/>
          </ac:spMkLst>
        </pc:spChg>
        <pc:spChg chg="mod">
          <ac:chgData name="Matthews, Carole" userId="0ea74e0c-175f-47ce-9967-f2a341b95df6" providerId="ADAL" clId="{0370E8A9-4A3F-4288-A167-9A90B997A8A3}" dt="2024-11-21T18:59:36.182" v="61" actId="948"/>
          <ac:spMkLst>
            <pc:docMk/>
            <pc:sldMk cId="3346393039" sldId="2744"/>
            <ac:spMk id="3" creationId="{FE6C5059-7682-1B65-773C-9CAB70DE3C24}"/>
          </ac:spMkLst>
        </pc:spChg>
        <pc:spChg chg="add del mod modVis">
          <ac:chgData name="Matthews, Carole" userId="0ea74e0c-175f-47ce-9967-f2a341b95df6" providerId="ADAL" clId="{0370E8A9-4A3F-4288-A167-9A90B997A8A3}" dt="2024-11-21T18:59:34.322" v="49"/>
          <ac:spMkLst>
            <pc:docMk/>
            <pc:sldMk cId="3346393039" sldId="2744"/>
            <ac:spMk id="15" creationId="{5FCBCEB7-367C-4EE8-E938-5956A5D57DB8}"/>
          </ac:spMkLst>
        </pc:spChg>
        <pc:graphicFrameChg chg="mod">
          <ac:chgData name="Matthews, Carole" userId="0ea74e0c-175f-47ce-9967-f2a341b95df6" providerId="ADAL" clId="{0370E8A9-4A3F-4288-A167-9A90B997A8A3}" dt="2024-11-21T18:59:36.189" v="65"/>
          <ac:graphicFrameMkLst>
            <pc:docMk/>
            <pc:sldMk cId="3346393039" sldId="2744"/>
            <ac:graphicFrameMk id="14" creationId="{E9E790C5-76F0-5405-C39A-C557ACF5A6B8}"/>
          </ac:graphicFrameMkLst>
        </pc:graphicFrameChg>
      </pc:sldChg>
      <pc:sldChg chg="del">
        <pc:chgData name="Matthews, Carole" userId="0ea74e0c-175f-47ce-9967-f2a341b95df6" providerId="ADAL" clId="{0370E8A9-4A3F-4288-A167-9A90B997A8A3}" dt="2024-11-21T18:58:59.692" v="0" actId="2696"/>
        <pc:sldMkLst>
          <pc:docMk/>
          <pc:sldMk cId="2849581548" sldId="274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B99848-9952-4819-982B-E9DBDACF91BB}" type="datetimeFigureOut">
              <a:rPr lang="en-US" smtClean="0"/>
              <a:t>11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C5690-3CA1-438A-A5B7-7E5FCDDEEF4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03341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963378-D80F-413D-94F6-C1B7A899B2C7}" type="datetimeFigureOut">
              <a:rPr lang="en-US" smtClean="0"/>
              <a:t>11/27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788A4E-386C-4E72-BFDF-A5FD3A207B5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34098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1pPr>
    <a:lvl2pPr marL="507114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2pPr>
    <a:lvl3pPr marL="101422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3pPr>
    <a:lvl4pPr marL="152134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4pPr>
    <a:lvl5pPr marL="202845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5pPr>
    <a:lvl6pPr marL="2535567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6pPr>
    <a:lvl7pPr marL="3042681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7pPr>
    <a:lvl8pPr marL="3549795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8pPr>
    <a:lvl9pPr marL="4056908" algn="l" defTabSz="1014227" rtl="0" eaLnBrk="1" latinLnBrk="0" hangingPunct="1">
      <a:defRPr sz="133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61788A4E-386C-4E72-BFDF-A5FD3A207B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11168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705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1788A4E-386C-4E72-BFDF-A5FD3A207B5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160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tif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1157256" y="3597224"/>
            <a:ext cx="9762193" cy="640256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bg2"/>
                </a:solidFill>
              </a:defRPr>
            </a:lvl1pPr>
            <a:lvl2pPr marL="448190" indent="0" algn="ctr">
              <a:buNone/>
              <a:defRPr sz="1960"/>
            </a:lvl2pPr>
            <a:lvl3pPr marL="896380" indent="0" algn="ctr">
              <a:buNone/>
              <a:defRPr sz="1764"/>
            </a:lvl3pPr>
            <a:lvl4pPr marL="1344570" indent="0" algn="ctr">
              <a:buNone/>
              <a:defRPr sz="1569"/>
            </a:lvl4pPr>
            <a:lvl5pPr marL="1792761" indent="0" algn="ctr">
              <a:buNone/>
              <a:defRPr sz="1569"/>
            </a:lvl5pPr>
            <a:lvl6pPr marL="2240951" indent="0" algn="ctr">
              <a:buNone/>
              <a:defRPr sz="1569"/>
            </a:lvl6pPr>
            <a:lvl7pPr marL="2689139" indent="0" algn="ctr">
              <a:buNone/>
              <a:defRPr sz="1569"/>
            </a:lvl7pPr>
            <a:lvl8pPr marL="3137328" indent="0" algn="ctr">
              <a:buNone/>
              <a:defRPr sz="1569"/>
            </a:lvl8pPr>
            <a:lvl9pPr marL="3585521" indent="0" algn="ctr">
              <a:buNone/>
              <a:defRPr sz="1569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1157256" y="1305785"/>
            <a:ext cx="9762193" cy="2198772"/>
          </a:xfrm>
          <a:prstGeom prst="rect">
            <a:avLst/>
          </a:prstGeom>
        </p:spPr>
        <p:txBody>
          <a:bodyPr anchor="b"/>
          <a:lstStyle>
            <a:lvl1pPr algn="l">
              <a:spcBef>
                <a:spcPts val="0"/>
              </a:spcBef>
              <a:defRPr sz="4800" b="0" cap="all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cxnSp>
        <p:nvCxnSpPr>
          <p:cNvPr id="12" name="Blue horizontal line"/>
          <p:cNvCxnSpPr/>
          <p:nvPr userDrawn="1"/>
        </p:nvCxnSpPr>
        <p:spPr>
          <a:xfrm>
            <a:off x="1165419" y="3510904"/>
            <a:ext cx="9765683" cy="0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Bridgespan logo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28048" y="369094"/>
            <a:ext cx="2220045" cy="851360"/>
          </a:xfrm>
          <a:prstGeom prst="rect">
            <a:avLst/>
          </a:prstGeom>
        </p:spPr>
      </p:pic>
      <p:pic>
        <p:nvPicPr>
          <p:cNvPr id="21" name="Blue wave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237480"/>
            <a:ext cx="12211589" cy="262052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82679" y="6"/>
            <a:ext cx="11522075" cy="87668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btfpLayoutConfig" hidden="1"/>
          <p:cNvSpPr txBox="1"/>
          <p:nvPr userDrawn="1"/>
        </p:nvSpPr>
        <p:spPr bwMode="gray">
          <a:xfrm>
            <a:off x="15913" y="11701"/>
            <a:ext cx="11139696" cy="87437"/>
          </a:xfrm>
          <a:prstGeom prst="rect">
            <a:avLst/>
          </a:prstGeom>
          <a:noFill/>
        </p:spPr>
        <p:txBody>
          <a:bodyPr vert="horz" wrap="square" lIns="33167" tIns="33167" rIns="33167" bIns="33167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733708841261106 columns_1_131733708841261106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235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cxnSp>
        <p:nvCxnSpPr>
          <p:cNvPr id="6" name="Blue horizontal line"/>
          <p:cNvCxnSpPr/>
          <p:nvPr/>
        </p:nvCxnSpPr>
        <p:spPr>
          <a:xfrm>
            <a:off x="478167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9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44893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Pic,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6096360" y="-256"/>
            <a:ext cx="6095641" cy="68580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7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8684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 &amp;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450839" y="0"/>
            <a:ext cx="5522743" cy="87613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cxnSp>
        <p:nvCxnSpPr>
          <p:cNvPr id="7" name="Blue horizontal line"/>
          <p:cNvCxnSpPr/>
          <p:nvPr/>
        </p:nvCxnSpPr>
        <p:spPr>
          <a:xfrm>
            <a:off x="6450838" y="831472"/>
            <a:ext cx="5522743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69147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Pic,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301720" y="2"/>
            <a:ext cx="5862245" cy="6857999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pic>
        <p:nvPicPr>
          <p:cNvPr id="8" name="Blue vertical lin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9969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5913" y="11701"/>
            <a:ext cx="11139696" cy="87437"/>
          </a:xfrm>
          <a:prstGeom prst="rect">
            <a:avLst/>
          </a:prstGeom>
          <a:noFill/>
        </p:spPr>
        <p:txBody>
          <a:bodyPr vert="horz" wrap="square" lIns="33167" tIns="33167" rIns="33167" bIns="33167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937908830644999 columns_1_131937908830644999 </a:t>
            </a:r>
          </a:p>
        </p:txBody>
      </p:sp>
      <p:pic>
        <p:nvPicPr>
          <p:cNvPr id="9" name="Logo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294" y="2423577"/>
            <a:ext cx="5967412" cy="2010847"/>
          </a:xfrm>
          <a:prstGeom prst="rect">
            <a:avLst/>
          </a:prstGeom>
        </p:spPr>
      </p:pic>
      <p:pic>
        <p:nvPicPr>
          <p:cNvPr id="14" name="Blue wave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684" y="1103597"/>
            <a:ext cx="6496671" cy="3462435"/>
          </a:xfrm>
        </p:spPr>
        <p:txBody>
          <a:bodyPr anchor="t" anchorCtr="0"/>
          <a:lstStyle>
            <a:lvl1pPr algn="r">
              <a:defRPr sz="4800" cap="all" baseline="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Subtitle 2"/>
          <p:cNvSpPr>
            <a:spLocks noGrp="1"/>
          </p:cNvSpPr>
          <p:nvPr>
            <p:ph type="subTitle" idx="1"/>
          </p:nvPr>
        </p:nvSpPr>
        <p:spPr>
          <a:xfrm>
            <a:off x="7802880" y="3462434"/>
            <a:ext cx="4136328" cy="1103599"/>
          </a:xfrm>
          <a:prstGeom prst="rect">
            <a:avLst/>
          </a:prstGeom>
        </p:spPr>
        <p:txBody>
          <a:bodyPr lIns="0" rIns="45720" anchor="b" anchorCtr="0">
            <a:noAutofit/>
          </a:bodyPr>
          <a:lstStyle>
            <a:lvl1pPr marL="0" indent="0" algn="l">
              <a:buNone/>
              <a:defRPr sz="2000">
                <a:solidFill>
                  <a:schemeClr val="bg2"/>
                </a:solidFill>
              </a:defRPr>
            </a:lvl1pPr>
            <a:lvl2pPr marL="452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4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6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82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60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12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4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6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6" name="Blue vertical line"/>
          <p:cNvCxnSpPr/>
          <p:nvPr/>
        </p:nvCxnSpPr>
        <p:spPr>
          <a:xfrm>
            <a:off x="7527252" y="1150256"/>
            <a:ext cx="0" cy="3412968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Blue wave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"/>
            <a:ext cx="1471522" cy="6858000"/>
          </a:xfrm>
          <a:prstGeom prst="rect">
            <a:avLst/>
          </a:prstGeom>
        </p:spPr>
      </p:pic>
      <p:pic>
        <p:nvPicPr>
          <p:cNvPr id="14" name="Bridgespan logo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0924" y="5943300"/>
            <a:ext cx="1868284" cy="71646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14967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tfpLayoutConfig" hidden="1"/>
          <p:cNvSpPr txBox="1"/>
          <p:nvPr userDrawn="1"/>
        </p:nvSpPr>
        <p:spPr bwMode="gray">
          <a:xfrm>
            <a:off x="12701" y="12700"/>
            <a:ext cx="518512" cy="91728"/>
          </a:xfrm>
          <a:prstGeom prst="rect">
            <a:avLst/>
          </a:prstGeom>
          <a:noFill/>
        </p:spPr>
        <p:txBody>
          <a:bodyPr vert="horz" wrap="none" lIns="35292" tIns="35292" rIns="35292" bIns="35292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690428734084882 columns_1_131690428734084882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6" userDrawn="1">
          <p15:clr>
            <a:srgbClr val="CCCCCC"/>
          </p15:clr>
        </p15:guide>
        <p15:guide id="2" pos="7568" userDrawn="1">
          <p15:clr>
            <a:srgbClr val="CCCCCC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B1482764-D60B-C698-5838-9393BAD3DF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09008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04" imgH="405" progId="TCLayout.ActiveDocument.1">
                  <p:embed/>
                </p:oleObj>
              </mc:Choice>
              <mc:Fallback>
                <p:oleObj name="think-cell Slide" r:id="rId13" imgW="404" imgH="405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1482764-D60B-C698-5838-9393BAD3DF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212D2D20496E737472756374696F6E7320666F7220746865203C74656D706C6174653E207461673A202020202020202020202020202020204B656570202276657273696F6E2220616E6420227479706522206F7074696F6E7320756E6368616E6765642E2020202020202020202020202020202053657420226E616D6522206F7074696F6E20746F2074686520636C69656E74206E616D6520746861742073686F756C6420617070656172206F6E2074686520636C69656E7420636F6C6F722073656374696F6E2E2020202020202020202020202020202053657420227061676553697A652220746F207468652070617065722073697A6520796F75206172652073657474696E67207468697320736C696465206D6173746572207570206F6E2E2056616C69642076616C756573206172653A20227769646573637265656E222028776869636820657175616C732031363A39292C2022345F33222C202261342220616E6420226C6574746572222E204F627365727665206361706974616C697A6174696F6E2120204C6173742065646974656420627920547261636579204E65696C206F6E204D617920312C2032303139202D2D3E0D0A20203C74656D706C6174652076657273696F6E3D22322E332E342220747970653D22756E6272616E64656422206E616D653D224272696467657370616E20436F7265202831365F392922207061676553697A653D227769646573637265656E223E0D0A202020203C212D2D20496E737472756374696F6E7320666F72203C73657474696E67733E207461673A20202020202020202020202020202020496E2065616368207375622D74616720736574207468652068657820636F6465206F66207468652052474220636F6C6F7220796F75207769736820746F2075736520666F7220746865207374616E6461726420656C656D656E7473207768656E2074686579206172652063726561746564206F6E207468697320736C696465206D61737465722E202020202020202020202020202020204966207468652076616C7565206973206D697373696E67206F7220696E76616C69642C2064656661756C7420636F6C6F72732077696C6C20626520757365642E202D2D3E0D0A202020203C73657474696E67733E0D0A2020202020203C72756E6E696E674167656E64614261636B436F6C6F724C6566743E233034354239313C2F72756E6E696E674167656E64614261636B436F6C6F724C6566743E0D0A2020202020203C72756E6E696E674167656E64614261636B436F6C6F7252696768743E234430443144333C2F72756E6E696E674167656E64614261636B436F6C6F7252696768743E0D0A2020202020203C72756E6E696E674167656E646154657874436F6C6F724C6566743E234646464646463C2F72756E6E696E674167656E646154657874436F6C6F724C6566743E0D0A2020202020203C72756E6E696E674167656E646154657874436F6C6F7252696768743E233436343534373C2F72756E6E696E674167656E646154657874436F6C6F7252696768743E0D0A2020202020203C636F6C756D6E4865616465724C696E65436F6C6F723E233436343534373C2F636F6C756D6E4865616465724C696E65436F6C6F723E0D0A2020202020203C636F6C756D6E48656164657254657874436F6C6F723E233436343534373C2F636F6C756D6E48656164657254657874436F6C6F723E0D0A2020202020203C726F774865616465724C696E65436F6C6F723E233436343534373C2F726F774865616465724C696E65436F6C6F723E0D0A2020202020203C726F7748656164657254657874436F6C6F723E233436343534373C2F726F7748656164657254657874436F6C6F723E0D0A2020202020203C636F6E636C7573696F6E4172726F774C696E65436F6C6F723E234630383631333C2F636F6E636C7573696F6E4172726F774C696E65436F6C6F723E0D0A2020202020203C636F6E636C7573696F6E4172726F7754657874436F6C6F723E234630383631333C2F636F6E636C7573696F6E4172726F7754657874436F6C6F723E0D0A2020202020203C70657263656E74616765436972636C6546756C6C436972636C65436F6C6F723E234135413641393C2F70657263656E74616765436972636C6546756C6C436972636C65436F6C6F723E0D0A2020202020203C70657263656E74616765436972636C6554657874486967686C69676874436F6C6F723E233030343337413C2F70657263656E74616765436972636C6554657874486967686C69676874436F6C6F723E0D0A2020202020203C737461747573537469636B6572436F6C6F723E233436343534373C2F737461747573537469636B6572436F6C6F723E0D0A2020202020203C63616C6C6F75744261636B436F6C6F723E234646464646463C2F63616C6C6F75744261636B436F6C6F723E0D0A2020202020203C63616C6C6F7574546578744C696E65436F6C6F723E233030343337413C2F63616C6C6F7574546578744C696E65436F6C6F723E0D0A2020202020203C6E6F74657354657874436F6C6F723E233436343534373C2F6E6F74657354657874436F6C6F723E0D0A2020202020203C6E756D626572427562626C654261636B436F6C6F723E234646464646463C2F6E756D626572427562626C654261636B436F6C6F723E0D0A2020202020203C6E756D626572427562626C65546578744C696E65436F6C6F723E234630383631333C2F6E756D626572427562626C65546578744C696E65436F6C6F723E0D0A2020202020203C76616C7565436861696E546578744C696E65436F6C6F723E233030343337413C2F76616C7565436861696E546578744C696E65436F6C6F723E0D0A2020202020203C6167656E6461486967686C69676874436F6C6F723E233030413945303C2F6167656E6461486967686C69676874436F6C6F723E0D0A2020202020203C212D2D20546865203C7461626C65416363656E744E756D6265723E20646566696E6573207768696368207461626C65206C61796F75742066726F6D2074686520224C69676874205374796C6520312220726F772073686F756C64206265206170706C69656420666F72206E65776C792063726561746564207461626C65732E2020202020202020202020202020202056616C69642076616C7565732061726520302C20312C20322C20332C20342C20352C20616E642036202D20726570726573656E74696E6720746865206C61796F757473206F6E20746865205461626C65204C61796F75742064726F702D646F776E2066726F6D206C65667420746F2072696768742E2020202020202020202020202020202054686520686967686C6967687420636F6C6F7273207573656420696E2074686F7365207461626C65206C61796F757473206C696E6B20746F20746865205468656D6520636F6C6F722070616C657474652C20746865792063616E6E6F742062652073706563696669656420686572652E202D2D3E0D0A2020202020203C7461626C65416363656E744E756D6265723E303C2F7461626C65416363656E744E756D6265723E0D0A2020202020203C212D2D20546865203C737461747573537469636B657252756E6E696E674167656E6461466F6E7453697A653E207461672064657465726D696E6573207768617420666F6E742073697A652073686F756C64206265206170706C69656420746F206E65776C7920637265617465642073746174757320737469636B65727320616E642072756E6E696E67206167656E6461732E2020202020202020202020202020202056616C69642076616C7565732061726520696E7465676572206E756D626572732E20496620746865206F7074696F6E206973206E6F742070726573656E74206F72206E6F742076616C69642C207468652064656661756C7420697320757365642E202D2D3E0D0A2020202020203C737461747573537469636B657252756E6E696E674167656E6461466F6E7453697A653E31323C2F737461747573537469636B657252756E6E696E674167656E6461466F6E7453697A653E0D0A2020202020203C212D2D20546865203C636F6C756D6E53706163696E673E207461672064657465726D696E657320746865207769647468206F66207468652073706163696E67206265747765656E20636F6C756D6E7320696E2070742E2020202020202020202020202020202056616C69642076616C7565732061726520696E7465676572206E756D626572732C206D696E2E2032382C206D61782E20383520287E312D33636D292E20496620746865206F7074696F6E206973206E6F742070726573656E74206F72206E6F742076616C69642C207468652064656661756C7420697320757365642E202D2D3E0D0A2020202020203C636F6C756D6E53706163696E673E34323C2F636F6C756D6E53706163696E673E0D0A202020203C2F73657474696E67733E0D0A202020203C212D2D20496E737472756374696F6E7320666F72203C636F6C6F72733E207461673A2020202020202020202020202020202055736520616E79206E756D626572206F66203C636F6C6F723E2E2E2E3C2F636F6C6F723E206C696E65732E2045616368206C696E652063726561746573206120636C69656E7420636F6C6F72206F6E2074686520636C69656E7420636F6C6F722070616C6574746520696E20746865206F7264657220746865792061707065617220686572652E2020202020202020202020202020202054686520636C69656E7420636F6C6F722068657820636F646520676F6573206265747765656E20746865203C636F6C6F723E20616E64203C2F636F6C6F723E20746167732E20202020202020202020202020202020546865203C636F6C6F723E20746167206D6179206861766520746865206F7074696F6E2022636F6E7472617374696E6754657874436F6C6F72222E2049662069742069732073657420746F20612076616C6964205247422068657820636F6465207468656E207468617420636F6C6F722077696C6C206265207573656420666F722074657874206966207468652075736572206170706C6965732074686520636C69656E7420636F6C6F7220746F2066696C6C20612073686170652E2020202020202020202020202020202048656E63652C20636F6E7472617374696E6754657874436F6C6F7220757375616C6C79206973207768697465202823464646464646292C20626C61636B20282330303030303029206F7220616E6F74686572206461726B20636F6C6F722E202D2D3E0D0A202020203C636F6C6F72733E0D0A2020202020203C636F6C6F7220636F6E7472617374696E6754657874436F6C6F723D2223464646464646223E233436343534373C2F636F6C6F723E0D0A2020202020203C636F6C6F7220636F6E7472617374696E6754657874436F6C6F723D2223464646464646223E233030343337413C2F636F6C6F723E0D0A2020202020203C636F6C6F7220636F6E7472617374696E6754657874436F6C6F723D2223464646464646223E233030413945303C2F636F6C6F723E0D0A2020202020203C636F6C6F7220636F6E7472617374696E6754657874436F6C6F723D2223464646464646223E233030383534323C2F636F6C6F723E0D0A2020202020203C636F6C6F7220636F6E7472617374696E6754657874436F6C6F723D2223464646464646223E233741423830303C2F636F6C6F723E0D0A2020202020203C636F6C6F7220636F6E7472617374696E6754657874436F6C6F723D2223464646464646223E234434373830303C2F636F6C6F723E0D0A2020202020203C636F6C6F7220636F6E7472617374696E6754657874436F6C6F723D2223464646464646223E233546363036323C2F636F6C6F723E0D0A2020202020203C636F6C6F7220636F6E7472617374696E6754657874436F6C6F723D2223464646464646223E233134354139353C2F636F6C6F723E0D0A2020202020203C636F6C6F7220636F6E7472617374696E6754657874436F6C6F723D2223464646464646223E233342424345323C2F636F6C6F723E0D0A2020202020203C636F6C6F7220636F6E7472617374696E6754657874436F6C6F723D2223464646464646223E233438413333373C2F636F6C6F723E0D0A2020202020203C636F6C6F7220636F6E7472617374696E6754657874436F6C6F723D2223464646464646223E233946433931383C2F636F6C6F723E0D0A2020202020203C636F6C6F7220636F6E7472617374696E6754657874436F6C6F723D2223464646464646223E234630383631333C2F636F6C6F723E0D0A2020202020203C636F6C6F7220636F6E7472617374696E6754657874436F6C6F723D2223464646464646223E233734373637383C2F636F6C6F723E0D0A2020202020203C636F6C6F7220636F6E7472617374696E6754657874436F6C6F723D2223464646464646223E233339384243363C2F636F6C6F723E0D0A2020202020203C636F6C6F7220636F6E7472617374696E6754657874436F6C6F723D2223464646464646223E233730434445333C2F636F6C6F723E0D0A2020202020203C636F6C6F7220636F6E7472617374696E6754657874436F6C6F723D2223464646464646223E233643433535313C2F636F6C6F723E0D0A2020202020203C636F6C6F7220636F6E7472617374696E6754657874436F6C6F723D2223464646464646223E234331443832463C2F636F6C6F723E0D0A2020202020203C636F6C6F7220636F6E7472617374696E6754657874436F6C6F723D2223464646464646223E234643413034373C2F636F6C6F723E0D0A2020202020203C636F6C6F7220636F6E7472617374696E6754657874436F6C6F723D2223343634353437223E234135413641393C2F636F6C6F723E0D0A2020202020203C636F6C6F7220636F6E7472617374696E6754657874436F6C6F723D2223343634353437223E233833433345443C2F636F6C6F723E0D0A2020202020203C636F6C6F7220636F6E7472617374696E6754657874436F6C6F723D2223343634353437223E233939444646313C2F636F6C6F723E0D0A2020202020203C636F6C6F7220636F6E7472617374696E6754657874436F6C6F723D2223343634353437223E233837443637323C2F636F6C6F723E0D0A2020202020203C636F6C6F7220636F6E7472617374696E6754657874436F6C6F723D2223343634353437223E234435453435433C2F636F6C6F723E0D0A2020202020203C636F6C6F7220636F6E7472617374696E6754657874436F6C6F723D2223343634353437223E234641433537443C2F636F6C6F723E0D0A2020202020203C636F6C6F7220636F6E7472617374696E6754657874436F6C6F723D2223343634353437223E234430443144333C2F636F6C6F723E0D0A2020202020203C636F6C6F7220636F6E7472617374696E6754657874436F6C6F723D2223343634353437223E234436454646463C2F636F6C6F723E0D0A2020202020203C636F6C6F7220636F6E7472617374696E6754657874436F6C6F723D2223343634353437223E234430454646393C2F636F6C6F723E0D0A2020202020203C636F6C6F7220636F6E7472617374696E6754657874436F6C6F723D2223343634353437223E234431463442333C2F636F6C6F723E0D0A2020202020203C636F6C6F7220636F6E7472617374696E6754657874436F6C6F723D2223343634353437223E234537463041323C2F636F6C6F723E0D0A2020202020203C636F6C6F7220636F6E7472617374696E6754657874436F6C6F723D2223343634353437223E234646453842443C2F636F6C6F723E0D0A2020202020203C636F6C6F7220636F6E7472617374696E6754657874436F6C6F723D2223343634353437223E234539454145423C2F636F6C6F723E0D0A2020202020203C636F6C6F7220636F6E7472617374696E6754657874436F6C6F723D2223343634353437223E234646464646463C2F636F6C6F723E0D0A2020202020203C636F6C6F7220636F6E7472617374696E6754657874436F6C6F723D2223464646464646223E233630344138323C2F636F6C6F723E0D0A202020203C2F636F6C6F72733E0D0A20203C2F74656D706C6174653E0D0A20203C4775696465733E0D0A202020203C4C656674477569646520786D6C6E733D22333722202F3E0D0A202020203C5269676874477569646520786D6C6E733D2239343622202F3E0D0A202020203C5570706572537469636B6572477569646520786D6C6E733D22363922202F3E0D0A202020203C4C6F776572537469636B6572477569646520786D6C6E733D22393622202F3E0D0A202020203C426F74746F6D477569646520786D6C6E733D2235313722202F3E0D0A20203C2F4775696465733E0D0A3C2F627466703E --&gt;&lt;/BTFP&gt;</a:t>
            </a: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77881" y="6706400"/>
            <a:ext cx="139462" cy="141705"/>
          </a:xfrm>
          <a:prstGeom prst="roundRect">
            <a:avLst>
              <a:gd name="adj" fmla="val 0"/>
            </a:avLst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697219" rtl="0" eaLnBrk="1" latinLnBrk="0" hangingPunct="1">
              <a:spcBef>
                <a:spcPts val="1176"/>
              </a:spcBef>
              <a:buNone/>
            </a:pPr>
            <a:fld id="{BB69BBE8-4DB2-4642-B003-B220ACD5A2FD}" type="slidenum">
              <a:rPr lang="en-US" sz="921" b="0" baseline="0" smtClean="0">
                <a:solidFill>
                  <a:schemeClr val="tx1"/>
                </a:solidFill>
                <a:latin typeface="+mn-lt"/>
              </a:rPr>
              <a:pPr marL="0" indent="0" algn="r" defTabSz="697219" rtl="0" eaLnBrk="1" latinLnBrk="0" hangingPunct="1">
                <a:spcBef>
                  <a:spcPts val="1176"/>
                </a:spcBef>
                <a:buNone/>
              </a:pPr>
              <a:t>‹#›</a:t>
            </a:fld>
            <a:endParaRPr lang="en-US" sz="921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CreatedFooter" hidden="1"/>
          <p:cNvSpPr/>
          <p:nvPr userDrawn="1"/>
        </p:nvSpPr>
        <p:spPr>
          <a:xfrm>
            <a:off x="8019472" y="6642002"/>
            <a:ext cx="2140528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" name="OfficeCode" hidden="1"/>
          <p:cNvSpPr/>
          <p:nvPr userDrawn="1"/>
        </p:nvSpPr>
        <p:spPr>
          <a:xfrm>
            <a:off x="7225149" y="6642002"/>
            <a:ext cx="540327" cy="161747"/>
          </a:xfrm>
          <a:prstGeom prst="rect">
            <a:avLst/>
          </a:prstGeom>
        </p:spPr>
        <p:txBody>
          <a:bodyPr wrap="square" lIns="35292" tIns="35292" rIns="35292" bIns="35292">
            <a:spAutoFit/>
          </a:bodyPr>
          <a:lstStyle/>
          <a:p>
            <a:pPr marL="0" indent="0" algn="ctr" defTabSz="697219" rtl="0" eaLnBrk="1" latinLnBrk="0" hangingPunct="1">
              <a:spcBef>
                <a:spcPts val="1176"/>
              </a:spcBef>
              <a:buNone/>
            </a:pPr>
            <a:r>
              <a:rPr lang="en-US" sz="588" dirty="0">
                <a:solidFill>
                  <a:schemeClr val="tx1"/>
                </a:solidFill>
              </a:rPr>
              <a:t>TBG</a:t>
            </a:r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82679" y="1213911"/>
            <a:ext cx="11522603" cy="5157467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btfpLayoutConfig" hidden="1"/>
          <p:cNvSpPr txBox="1"/>
          <p:nvPr userDrawn="1"/>
        </p:nvSpPr>
        <p:spPr bwMode="gray">
          <a:xfrm>
            <a:off x="12701" y="12700"/>
            <a:ext cx="518512" cy="91728"/>
          </a:xfrm>
          <a:prstGeom prst="rect">
            <a:avLst/>
          </a:prstGeom>
          <a:noFill/>
        </p:spPr>
        <p:txBody>
          <a:bodyPr vert="horz" wrap="none" lIns="35292" tIns="35292" rIns="35292" bIns="35292" rtlCol="0">
            <a:spAutoFit/>
          </a:bodyPr>
          <a:lstStyle/>
          <a:p>
            <a:pPr marL="0" indent="0">
              <a:buNone/>
            </a:pPr>
            <a:r>
              <a:rPr lang="en-US" sz="133" dirty="0">
                <a:solidFill>
                  <a:srgbClr val="FFFFFF">
                    <a:alpha val="0"/>
                  </a:srgbClr>
                </a:solidFill>
              </a:rPr>
              <a:t>overall_0_131733570364636190 columns_1_131733570364636190 </a:t>
            </a:r>
          </a:p>
        </p:txBody>
      </p:sp>
      <p:cxnSp>
        <p:nvCxnSpPr>
          <p:cNvPr id="15" name="Blue horiz line"/>
          <p:cNvCxnSpPr/>
          <p:nvPr userDrawn="1"/>
        </p:nvCxnSpPr>
        <p:spPr>
          <a:xfrm>
            <a:off x="481235" y="831472"/>
            <a:ext cx="11526721" cy="0"/>
          </a:xfrm>
          <a:prstGeom prst="line">
            <a:avLst/>
          </a:prstGeom>
          <a:ln w="2857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Title"/>
          <p:cNvSpPr>
            <a:spLocks noGrp="1"/>
          </p:cNvSpPr>
          <p:nvPr>
            <p:ph type="title"/>
          </p:nvPr>
        </p:nvSpPr>
        <p:spPr>
          <a:xfrm>
            <a:off x="481235" y="4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18" name="Blue vertical line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1851" cy="6858000"/>
          </a:xfrm>
          <a:prstGeom prst="rect">
            <a:avLst/>
          </a:prstGeom>
        </p:spPr>
      </p:pic>
      <p:graphicFrame>
        <p:nvGraphicFramePr>
          <p:cNvPr id="9" name="Table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91926046"/>
              </p:ext>
            </p:extLst>
          </p:nvPr>
        </p:nvGraphicFramePr>
        <p:xfrm>
          <a:off x="2414555" y="2872740"/>
          <a:ext cx="8128000" cy="1112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3249235308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59836029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2656733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59570349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24923101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1019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1478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CA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1930414"/>
                  </a:ext>
                </a:extLst>
              </a:tr>
            </a:tbl>
          </a:graphicData>
        </a:graphic>
      </p:graphicFrame>
    </p:spTree>
    <p:custDataLst>
      <p:tags r:id="rId11"/>
    </p:custDataLst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5" r:id="rId3"/>
    <p:sldLayoutId id="2147483666" r:id="rId4"/>
    <p:sldLayoutId id="2147483667" r:id="rId5"/>
    <p:sldLayoutId id="2147483668" r:id="rId6"/>
    <p:sldLayoutId id="2147483663" r:id="rId7"/>
    <p:sldLayoutId id="2147483664" r:id="rId8"/>
    <p:sldLayoutId id="2147483655" r:id="rId9"/>
  </p:sldLayoutIdLst>
  <p:txStyles>
    <p:titleStyle>
      <a:lvl1pPr algn="l" defTabSz="697219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177417" indent="-177417" algn="l" defTabSz="89638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4835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24471" indent="-169636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01888" indent="-177417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80862" indent="-178974" algn="l" defTabSz="89638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46504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1323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361424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09615" indent="-224096" algn="l" defTabSz="896380" rtl="0" eaLnBrk="1" latinLnBrk="0" hangingPunct="1">
        <a:lnSpc>
          <a:spcPct val="900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4305" indent="-174305" algn="l" defTabSz="697219" rtl="0" eaLnBrk="1" latinLnBrk="0" hangingPunct="1">
        <a:spcBef>
          <a:spcPts val="1200"/>
        </a:spcBef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4860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22915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97219" indent="-174305" algn="l" defTabSz="697219" rtl="0" eaLnBrk="1" latinLnBrk="0" hangingPunct="1">
        <a:spcBef>
          <a:spcPts val="600"/>
        </a:spcBef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71524" indent="-174305" algn="l" defTabSz="697219" rtl="0" eaLnBrk="1" latinLnBrk="0" hangingPunct="1">
        <a:spcBef>
          <a:spcPts val="600"/>
        </a:spcBef>
        <a:buChar char="&gt;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45829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20133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394438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568742" algn="l" defTabSz="697219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2" userDrawn="1">
          <p15:clr>
            <a:srgbClr val="D1D1D1"/>
          </p15:clr>
        </p15:guide>
        <p15:guide id="2" pos="292" userDrawn="1">
          <p15:clr>
            <a:srgbClr val="D1D1D1"/>
          </p15:clr>
        </p15:guide>
        <p15:guide id="4" orient="horz" pos="768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7564" userDrawn="1">
          <p15:clr>
            <a:srgbClr val="D1D1D1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3.bin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2.xml"/><Relationship Id="rId10" Type="http://schemas.openxmlformats.org/officeDocument/2006/relationships/hyperlink" Target="https://tfreedmanconsulting.com/wp-content/uploads/sites/264/Scenario-Mapping-Planning-for-2025-Jan-2024.pdf" TargetMode="External"/><Relationship Id="rId4" Type="http://schemas.openxmlformats.org/officeDocument/2006/relationships/tags" Target="../tags/tag18.xml"/><Relationship Id="rId9" Type="http://schemas.openxmlformats.org/officeDocument/2006/relationships/hyperlink" Target="https://www.bridgespan.org/insights/election-year-resource-center-for-nonprofit-leaders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9E790C5-76F0-5405-C39A-C557ACF5A6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675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E790C5-76F0-5405-C39A-C557ACF5A6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" name="btfpColumnIndicatorGroup2">
            <a:extLst>
              <a:ext uri="{FF2B5EF4-FFF2-40B4-BE49-F238E27FC236}">
                <a16:creationId xmlns:a16="http://schemas.microsoft.com/office/drawing/2014/main" id="{CC28DD02-2B08-1626-4937-636E12527A1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1" name="btfpColumnGapBlocker383858">
              <a:extLst>
                <a:ext uri="{FF2B5EF4-FFF2-40B4-BE49-F238E27FC236}">
                  <a16:creationId xmlns:a16="http://schemas.microsoft.com/office/drawing/2014/main" id="{54282B00-A594-2ABA-31C3-A59FC7A26005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9" name="btfpColumnGapBlocker833647">
              <a:extLst>
                <a:ext uri="{FF2B5EF4-FFF2-40B4-BE49-F238E27FC236}">
                  <a16:creationId xmlns:a16="http://schemas.microsoft.com/office/drawing/2014/main" id="{BF1AE946-C694-E980-1A3C-9236CD7BF7A1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7" name="btfpColumnIndicator707681">
              <a:extLst>
                <a:ext uri="{FF2B5EF4-FFF2-40B4-BE49-F238E27FC236}">
                  <a16:creationId xmlns:a16="http://schemas.microsoft.com/office/drawing/2014/main" id="{7D61F0A2-F4EC-A990-5C59-AE01AA53A2B2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362994">
              <a:extLst>
                <a:ext uri="{FF2B5EF4-FFF2-40B4-BE49-F238E27FC236}">
                  <a16:creationId xmlns:a16="http://schemas.microsoft.com/office/drawing/2014/main" id="{23C6EA72-B366-A06E-D8E0-B9DC74060CF0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btfpColumnIndicatorGroup1">
            <a:extLst>
              <a:ext uri="{FF2B5EF4-FFF2-40B4-BE49-F238E27FC236}">
                <a16:creationId xmlns:a16="http://schemas.microsoft.com/office/drawing/2014/main" id="{9AFE06EA-4B91-3DF3-2F74-0346727ADE32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" name="btfpColumnGapBlocker256103">
              <a:extLst>
                <a:ext uri="{FF2B5EF4-FFF2-40B4-BE49-F238E27FC236}">
                  <a16:creationId xmlns:a16="http://schemas.microsoft.com/office/drawing/2014/main" id="{098234EE-C046-C677-533D-5996FBFE8C9C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8" name="btfpColumnGapBlocker407958">
              <a:extLst>
                <a:ext uri="{FF2B5EF4-FFF2-40B4-BE49-F238E27FC236}">
                  <a16:creationId xmlns:a16="http://schemas.microsoft.com/office/drawing/2014/main" id="{0E3EFB74-F2A0-C4F1-81ED-F5F73160BA93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6" name="btfpColumnIndicator869472">
              <a:extLst>
                <a:ext uri="{FF2B5EF4-FFF2-40B4-BE49-F238E27FC236}">
                  <a16:creationId xmlns:a16="http://schemas.microsoft.com/office/drawing/2014/main" id="{ABFE3F00-03D9-49DD-29F4-F2058BD8268D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" name="btfpColumnIndicator507822">
              <a:extLst>
                <a:ext uri="{FF2B5EF4-FFF2-40B4-BE49-F238E27FC236}">
                  <a16:creationId xmlns:a16="http://schemas.microsoft.com/office/drawing/2014/main" id="{D88F9C5B-7F3E-8C24-072E-975D1A6DA2FA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Subtitle 1">
            <a:extLst>
              <a:ext uri="{FF2B5EF4-FFF2-40B4-BE49-F238E27FC236}">
                <a16:creationId xmlns:a16="http://schemas.microsoft.com/office/drawing/2014/main" id="{94E5C4D3-BDBE-73D0-2AC4-015C924C00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Updated November 7</a:t>
            </a:r>
            <a:r>
              <a:rPr lang="en-US"/>
              <a:t>, 2024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E6C5059-7682-1B65-773C-9CAB70DE3C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57256" y="1305785"/>
            <a:ext cx="10529919" cy="2198772"/>
          </a:xfrm>
        </p:spPr>
        <p:txBody>
          <a:bodyPr vert="horz"/>
          <a:lstStyle/>
          <a:p>
            <a:r>
              <a:rPr lang="en-US" dirty="0"/>
              <a:t>Election Results Scenario diagnostic too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393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8" name="btfpColumnIndicatorGroup2">
            <a:extLst>
              <a:ext uri="{FF2B5EF4-FFF2-40B4-BE49-F238E27FC236}">
                <a16:creationId xmlns:a16="http://schemas.microsoft.com/office/drawing/2014/main" id="{4964325D-E394-8DEC-C250-57C1C0250AD8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36" name="btfpColumnGapBlocker856895">
              <a:extLst>
                <a:ext uri="{FF2B5EF4-FFF2-40B4-BE49-F238E27FC236}">
                  <a16:creationId xmlns:a16="http://schemas.microsoft.com/office/drawing/2014/main" id="{57B4AF25-A6B5-A3E9-8306-0E1366647BE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btfpColumnGapBlocker554335">
              <a:extLst>
                <a:ext uri="{FF2B5EF4-FFF2-40B4-BE49-F238E27FC236}">
                  <a16:creationId xmlns:a16="http://schemas.microsoft.com/office/drawing/2014/main" id="{F337B76E-21B4-CB20-80D1-332440E4C6DF}"/>
                </a:ext>
              </a:extLst>
            </p:cNvPr>
            <p:cNvSpPr/>
            <p:nvPr/>
          </p:nvSpPr>
          <p:spPr bwMode="gray">
            <a:xfrm>
              <a:off x="79883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2" name="btfpColumnIndicator260143">
              <a:extLst>
                <a:ext uri="{FF2B5EF4-FFF2-40B4-BE49-F238E27FC236}">
                  <a16:creationId xmlns:a16="http://schemas.microsoft.com/office/drawing/2014/main" id="{A8B12DF0-63D2-3F15-B0E8-805E0413E0B1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btfpColumnIndicator176555">
              <a:extLst>
                <a:ext uri="{FF2B5EF4-FFF2-40B4-BE49-F238E27FC236}">
                  <a16:creationId xmlns:a16="http://schemas.microsoft.com/office/drawing/2014/main" id="{D059F8C9-EB36-0F97-64C8-55CDCC94F533}"/>
                </a:ext>
              </a:extLst>
            </p:cNvPr>
            <p:cNvCxnSpPr/>
            <p:nvPr/>
          </p:nvCxnSpPr>
          <p:spPr>
            <a:xfrm flipV="1">
              <a:off x="85217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8" name="btfpColumnGapBlocker836059">
              <a:extLst>
                <a:ext uri="{FF2B5EF4-FFF2-40B4-BE49-F238E27FC236}">
                  <a16:creationId xmlns:a16="http://schemas.microsoft.com/office/drawing/2014/main" id="{24AA5357-2B18-5CC7-8BC2-2FF06B59516E}"/>
                </a:ext>
              </a:extLst>
            </p:cNvPr>
            <p:cNvSpPr/>
            <p:nvPr/>
          </p:nvSpPr>
          <p:spPr bwMode="gray">
            <a:xfrm>
              <a:off x="3962400" y="692658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6" name="btfpColumnIndicator800643">
              <a:extLst>
                <a:ext uri="{FF2B5EF4-FFF2-40B4-BE49-F238E27FC236}">
                  <a16:creationId xmlns:a16="http://schemas.microsoft.com/office/drawing/2014/main" id="{B3C1456C-5BD9-2899-0E40-665A2B7DEF60}"/>
                </a:ext>
              </a:extLst>
            </p:cNvPr>
            <p:cNvCxnSpPr/>
            <p:nvPr/>
          </p:nvCxnSpPr>
          <p:spPr>
            <a:xfrm flipV="1">
              <a:off x="79883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btfpColumnIndicator416841">
              <a:extLst>
                <a:ext uri="{FF2B5EF4-FFF2-40B4-BE49-F238E27FC236}">
                  <a16:creationId xmlns:a16="http://schemas.microsoft.com/office/drawing/2014/main" id="{ED0E3036-573D-D6DF-0DC1-3E36ED8C5E46}"/>
                </a:ext>
              </a:extLst>
            </p:cNvPr>
            <p:cNvCxnSpPr/>
            <p:nvPr/>
          </p:nvCxnSpPr>
          <p:spPr>
            <a:xfrm flipV="1">
              <a:off x="4495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2" name="btfpColumnGapBlocker128740">
              <a:extLst>
                <a:ext uri="{FF2B5EF4-FFF2-40B4-BE49-F238E27FC236}">
                  <a16:creationId xmlns:a16="http://schemas.microsoft.com/office/drawing/2014/main" id="{8A5B5472-3FD9-73ED-C72A-B9549D84555D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0" name="btfpColumnIndicator617004">
              <a:extLst>
                <a:ext uri="{FF2B5EF4-FFF2-40B4-BE49-F238E27FC236}">
                  <a16:creationId xmlns:a16="http://schemas.microsoft.com/office/drawing/2014/main" id="{6CDEC333-BBB8-18B6-32FC-BDB88E2203F6}"/>
                </a:ext>
              </a:extLst>
            </p:cNvPr>
            <p:cNvCxnSpPr/>
            <p:nvPr/>
          </p:nvCxnSpPr>
          <p:spPr>
            <a:xfrm flipV="1">
              <a:off x="39624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btfpColumnIndicator813640">
              <a:extLst>
                <a:ext uri="{FF2B5EF4-FFF2-40B4-BE49-F238E27FC236}">
                  <a16:creationId xmlns:a16="http://schemas.microsoft.com/office/drawing/2014/main" id="{425D2EC8-7F65-EE1A-DEBD-E52CA1143F8E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7" name="btfpColumnIndicatorGroup1">
            <a:extLst>
              <a:ext uri="{FF2B5EF4-FFF2-40B4-BE49-F238E27FC236}">
                <a16:creationId xmlns:a16="http://schemas.microsoft.com/office/drawing/2014/main" id="{DEFA6849-4869-8534-CBA6-686445DB22C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35" name="btfpColumnGapBlocker681158">
              <a:extLst>
                <a:ext uri="{FF2B5EF4-FFF2-40B4-BE49-F238E27FC236}">
                  <a16:creationId xmlns:a16="http://schemas.microsoft.com/office/drawing/2014/main" id="{42775E7E-53D0-19BA-6418-C98EAAB9BD59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btfpColumnGapBlocker370407">
              <a:extLst>
                <a:ext uri="{FF2B5EF4-FFF2-40B4-BE49-F238E27FC236}">
                  <a16:creationId xmlns:a16="http://schemas.microsoft.com/office/drawing/2014/main" id="{8EFA5D56-EBFD-2530-A7C1-8EE16DC10E1F}"/>
                </a:ext>
              </a:extLst>
            </p:cNvPr>
            <p:cNvSpPr/>
            <p:nvPr/>
          </p:nvSpPr>
          <p:spPr bwMode="gray">
            <a:xfrm>
              <a:off x="79883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31" name="btfpColumnIndicator200832">
              <a:extLst>
                <a:ext uri="{FF2B5EF4-FFF2-40B4-BE49-F238E27FC236}">
                  <a16:creationId xmlns:a16="http://schemas.microsoft.com/office/drawing/2014/main" id="{5C665378-E17E-163F-40A7-51A8C40EC074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btfpColumnIndicator619745">
              <a:extLst>
                <a:ext uri="{FF2B5EF4-FFF2-40B4-BE49-F238E27FC236}">
                  <a16:creationId xmlns:a16="http://schemas.microsoft.com/office/drawing/2014/main" id="{00FCFD78-66DE-E07B-362F-3E09CC79BC20}"/>
                </a:ext>
              </a:extLst>
            </p:cNvPr>
            <p:cNvCxnSpPr/>
            <p:nvPr/>
          </p:nvCxnSpPr>
          <p:spPr>
            <a:xfrm flipV="1">
              <a:off x="85217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7" name="btfpColumnGapBlocker979925">
              <a:extLst>
                <a:ext uri="{FF2B5EF4-FFF2-40B4-BE49-F238E27FC236}">
                  <a16:creationId xmlns:a16="http://schemas.microsoft.com/office/drawing/2014/main" id="{6E92EC17-DCFC-4A8B-3C25-FFE4960F1670}"/>
                </a:ext>
              </a:extLst>
            </p:cNvPr>
            <p:cNvSpPr/>
            <p:nvPr/>
          </p:nvSpPr>
          <p:spPr bwMode="gray">
            <a:xfrm>
              <a:off x="3962400" y="-205740"/>
              <a:ext cx="5334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25" name="btfpColumnIndicator493027">
              <a:extLst>
                <a:ext uri="{FF2B5EF4-FFF2-40B4-BE49-F238E27FC236}">
                  <a16:creationId xmlns:a16="http://schemas.microsoft.com/office/drawing/2014/main" id="{AF973359-208F-4B26-A28B-FBD1BEB752EB}"/>
                </a:ext>
              </a:extLst>
            </p:cNvPr>
            <p:cNvCxnSpPr/>
            <p:nvPr/>
          </p:nvCxnSpPr>
          <p:spPr>
            <a:xfrm flipV="1">
              <a:off x="79883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btfpColumnIndicator156848">
              <a:extLst>
                <a:ext uri="{FF2B5EF4-FFF2-40B4-BE49-F238E27FC236}">
                  <a16:creationId xmlns:a16="http://schemas.microsoft.com/office/drawing/2014/main" id="{81EC1B2A-6385-27F6-543F-0C1EE6D88E09}"/>
                </a:ext>
              </a:extLst>
            </p:cNvPr>
            <p:cNvCxnSpPr/>
            <p:nvPr/>
          </p:nvCxnSpPr>
          <p:spPr>
            <a:xfrm flipV="1">
              <a:off x="4495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btfpColumnGapBlocker313413">
              <a:extLst>
                <a:ext uri="{FF2B5EF4-FFF2-40B4-BE49-F238E27FC236}">
                  <a16:creationId xmlns:a16="http://schemas.microsoft.com/office/drawing/2014/main" id="{A1023D82-4D1C-8BC6-FB2F-5B4E24DA98BA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119" name="btfpColumnIndicator753125">
              <a:extLst>
                <a:ext uri="{FF2B5EF4-FFF2-40B4-BE49-F238E27FC236}">
                  <a16:creationId xmlns:a16="http://schemas.microsoft.com/office/drawing/2014/main" id="{CD44C5D5-2E08-7043-79DF-B990AA54C050}"/>
                </a:ext>
              </a:extLst>
            </p:cNvPr>
            <p:cNvCxnSpPr/>
            <p:nvPr/>
          </p:nvCxnSpPr>
          <p:spPr>
            <a:xfrm flipV="1">
              <a:off x="39624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btfpColumnIndicator475099">
              <a:extLst>
                <a:ext uri="{FF2B5EF4-FFF2-40B4-BE49-F238E27FC236}">
                  <a16:creationId xmlns:a16="http://schemas.microsoft.com/office/drawing/2014/main" id="{AFD3AF04-A7EC-6355-ACA1-131D6941AD2E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2" name="think-cell data - do not delete" hidden="1">
            <a:extLst>
              <a:ext uri="{FF2B5EF4-FFF2-40B4-BE49-F238E27FC236}">
                <a16:creationId xmlns:a16="http://schemas.microsoft.com/office/drawing/2014/main" id="{189A277B-ABA8-FF7B-2305-66AD5D572C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3188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3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9A277B-ABA8-FF7B-2305-66AD5D572C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A46B73A-A670-A765-33D9-C3A9419F8F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 dirty="0"/>
              <a:t>How to Use This Tool</a:t>
            </a:r>
          </a:p>
        </p:txBody>
      </p:sp>
      <p:sp>
        <p:nvSpPr>
          <p:cNvPr id="4" name="btfpBulletedList115005">
            <a:extLst>
              <a:ext uri="{FF2B5EF4-FFF2-40B4-BE49-F238E27FC236}">
                <a16:creationId xmlns:a16="http://schemas.microsoft.com/office/drawing/2014/main" id="{FCE9A3F1-287B-2DA3-6AF2-626BA7DCDB2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482679" y="1264865"/>
            <a:ext cx="4384047" cy="4966350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177800" indent="-177800"/>
            <a:r>
              <a:rPr lang="en-US" dirty="0"/>
              <a:t>The election results are in; highlighted in the possible outcomes to the right is where we stand</a:t>
            </a:r>
          </a:p>
          <a:p>
            <a:pPr marL="177800" indent="-177800"/>
            <a:r>
              <a:rPr lang="en-US" dirty="0"/>
              <a:t>The scenario described highlights potential directions the new administration may take; it can help inform your approach to filling out the diagnostic (illustrated example on slide 3) </a:t>
            </a:r>
          </a:p>
          <a:p>
            <a:pPr marL="177800" indent="-177800"/>
            <a:r>
              <a:rPr lang="en-US" dirty="0"/>
              <a:t>The blank template (slide 4) can be used by and your team to explore how the election results may impact your organization, your partners, and your community.</a:t>
            </a:r>
          </a:p>
          <a:p>
            <a:pPr marL="177800" indent="-177800"/>
            <a:r>
              <a:rPr lang="en-US" dirty="0"/>
              <a:t>To go deeper, use the probing questions outlined in the </a:t>
            </a:r>
            <a:r>
              <a:rPr lang="en-US" b="1" i="1" dirty="0">
                <a:hlinkClick r:id="rId9"/>
              </a:rPr>
              <a:t>Moving Forward After the US Elections: 10 Questions Every Nonprofit Leader Should Consider</a:t>
            </a:r>
            <a:r>
              <a:rPr lang="en-US" b="1" i="1" dirty="0"/>
              <a:t>.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D63C78F-E7DD-D27B-6060-A3C93A101009}"/>
              </a:ext>
            </a:extLst>
          </p:cNvPr>
          <p:cNvGrpSpPr/>
          <p:nvPr/>
        </p:nvGrpSpPr>
        <p:grpSpPr>
          <a:xfrm>
            <a:off x="5358872" y="1335273"/>
            <a:ext cx="6617007" cy="4819284"/>
            <a:chOff x="583682" y="1289698"/>
            <a:chExt cx="6617007" cy="4819284"/>
          </a:xfrm>
        </p:grpSpPr>
        <p:sp>
          <p:nvSpPr>
            <p:cNvPr id="5" name="Rectangle: Single Corner Rounded 4">
              <a:extLst>
                <a:ext uri="{FF2B5EF4-FFF2-40B4-BE49-F238E27FC236}">
                  <a16:creationId xmlns:a16="http://schemas.microsoft.com/office/drawing/2014/main" id="{3F228790-0F37-EBAE-EC1A-BCC31450D839}"/>
                </a:ext>
              </a:extLst>
            </p:cNvPr>
            <p:cNvSpPr/>
            <p:nvPr/>
          </p:nvSpPr>
          <p:spPr bwMode="gray">
            <a:xfrm flipH="1">
              <a:off x="991437" y="1289698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00437A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Rectangle: Single Corner Rounded 5">
              <a:extLst>
                <a:ext uri="{FF2B5EF4-FFF2-40B4-BE49-F238E27FC236}">
                  <a16:creationId xmlns:a16="http://schemas.microsoft.com/office/drawing/2014/main" id="{0496E5E5-D16A-2FB3-21F3-DA60A1E23D43}"/>
                </a:ext>
              </a:extLst>
            </p:cNvPr>
            <p:cNvSpPr/>
            <p:nvPr/>
          </p:nvSpPr>
          <p:spPr bwMode="gray">
            <a:xfrm>
              <a:off x="4180652" y="1289700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3E87C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Rectangle: Single Corner Rounded 6">
              <a:extLst>
                <a:ext uri="{FF2B5EF4-FFF2-40B4-BE49-F238E27FC236}">
                  <a16:creationId xmlns:a16="http://schemas.microsoft.com/office/drawing/2014/main" id="{8C449BED-6F2E-05F0-4D61-09E92822291A}"/>
                </a:ext>
              </a:extLst>
            </p:cNvPr>
            <p:cNvSpPr/>
            <p:nvPr/>
          </p:nvSpPr>
          <p:spPr bwMode="gray">
            <a:xfrm flipH="1" flipV="1">
              <a:off x="991437" y="3570811"/>
              <a:ext cx="3020037" cy="2121574"/>
            </a:xfrm>
            <a:prstGeom prst="round1Rect">
              <a:avLst/>
            </a:prstGeom>
            <a:noFill/>
            <a:ln w="76200" cap="flat" cmpd="sng" algn="ctr">
              <a:solidFill>
                <a:srgbClr val="145A95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Rectangle: Single Corner Rounded 7">
              <a:extLst>
                <a:ext uri="{FF2B5EF4-FFF2-40B4-BE49-F238E27FC236}">
                  <a16:creationId xmlns:a16="http://schemas.microsoft.com/office/drawing/2014/main" id="{4BACB6AB-3C86-DD87-E50C-C6A197BC3A70}"/>
                </a:ext>
              </a:extLst>
            </p:cNvPr>
            <p:cNvSpPr/>
            <p:nvPr/>
          </p:nvSpPr>
          <p:spPr bwMode="gray">
            <a:xfrm flipV="1">
              <a:off x="4176780" y="3579795"/>
              <a:ext cx="3020037" cy="2121574"/>
            </a:xfrm>
            <a:prstGeom prst="round1Rect">
              <a:avLst/>
            </a:prstGeom>
            <a:solidFill>
              <a:srgbClr val="FFE8BD"/>
            </a:solidFill>
            <a:ln w="76200" cap="flat" cmpd="sng" algn="ctr">
              <a:solidFill>
                <a:srgbClr val="00A9E0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ED03CE8-BA31-705D-C4D4-C52DFEF8F1AF}"/>
                </a:ext>
              </a:extLst>
            </p:cNvPr>
            <p:cNvSpPr txBox="1"/>
            <p:nvPr/>
          </p:nvSpPr>
          <p:spPr bwMode="gray">
            <a:xfrm rot="16200000">
              <a:off x="-323216" y="2196597"/>
              <a:ext cx="212157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White House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F03E9899-F3E5-6FF5-AFA3-E4E40647BC02}"/>
                </a:ext>
              </a:extLst>
            </p:cNvPr>
            <p:cNvSpPr txBox="1"/>
            <p:nvPr/>
          </p:nvSpPr>
          <p:spPr bwMode="gray">
            <a:xfrm>
              <a:off x="1264396" y="5801205"/>
              <a:ext cx="247411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House/Senate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A8CC3A8-1EFF-29B0-D9FE-62BBC29D81FE}"/>
                </a:ext>
              </a:extLst>
            </p:cNvPr>
            <p:cNvSpPr txBox="1"/>
            <p:nvPr/>
          </p:nvSpPr>
          <p:spPr bwMode="gray">
            <a:xfrm>
              <a:off x="4449739" y="5801205"/>
              <a:ext cx="2474119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House/Senate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E390E96-D34E-175D-B71F-00282F966869}"/>
                </a:ext>
              </a:extLst>
            </p:cNvPr>
            <p:cNvSpPr txBox="1"/>
            <p:nvPr/>
          </p:nvSpPr>
          <p:spPr bwMode="gray">
            <a:xfrm rot="16200000">
              <a:off x="-323216" y="4426911"/>
              <a:ext cx="2121574" cy="30777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White House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EAD3F3F-D5FB-C974-BBB5-3A8912237336}"/>
                </a:ext>
              </a:extLst>
            </p:cNvPr>
            <p:cNvSpPr txBox="1"/>
            <p:nvPr/>
          </p:nvSpPr>
          <p:spPr bwMode="gray">
            <a:xfrm>
              <a:off x="1290305" y="1401072"/>
              <a:ext cx="2422301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EMOCRATIC TRIFECTA</a:t>
              </a: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437A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CD29A56-00B7-F1DE-1E28-4C5AD999C05E}"/>
                </a:ext>
              </a:extLst>
            </p:cNvPr>
            <p:cNvSpPr txBox="1"/>
            <p:nvPr/>
          </p:nvSpPr>
          <p:spPr bwMode="gray">
            <a:xfrm>
              <a:off x="4253454" y="1401072"/>
              <a:ext cx="2874433" cy="369332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E87C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VIDED GOVERNMENT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B84CCD1-41BE-7C0C-83EA-56AB6EB094CE}"/>
                </a:ext>
              </a:extLst>
            </p:cNvPr>
            <p:cNvSpPr txBox="1"/>
            <p:nvPr/>
          </p:nvSpPr>
          <p:spPr bwMode="gray">
            <a:xfrm>
              <a:off x="1123583" y="4160607"/>
              <a:ext cx="2366870" cy="1384995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Would likely see heightened partisan conflict, with the president relying on executive orders and vetoes to push conservative policies, including reversal of the Biden administration’s policy priorities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6F7F8D9D-C82D-1E76-62C8-2D46D47C6AA7}"/>
                </a:ext>
              </a:extLst>
            </p:cNvPr>
            <p:cNvSpPr txBox="1"/>
            <p:nvPr/>
          </p:nvSpPr>
          <p:spPr bwMode="gray">
            <a:xfrm>
              <a:off x="4591664" y="4268760"/>
              <a:ext cx="2458065" cy="1200329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464547"/>
                  </a:solidFill>
                  <a:latin typeface="Calibri"/>
                </a:rPr>
                <a:t>Swift pursuit of conservative policy agenda, with legislative priorities advancing with strong support from Republicans in Congress; focus on dismantling Democratic policies and expanding Trump’s key initiatives </a:t>
              </a:r>
            </a:p>
          </p:txBody>
        </p:sp>
        <p:sp>
          <p:nvSpPr>
            <p:cNvPr id="17" name="Right Triangle 16">
              <a:extLst>
                <a:ext uri="{FF2B5EF4-FFF2-40B4-BE49-F238E27FC236}">
                  <a16:creationId xmlns:a16="http://schemas.microsoft.com/office/drawing/2014/main" id="{0F70D9FC-7512-1C9A-A637-64841ABABE48}"/>
                </a:ext>
              </a:extLst>
            </p:cNvPr>
            <p:cNvSpPr/>
            <p:nvPr/>
          </p:nvSpPr>
          <p:spPr bwMode="gray">
            <a:xfrm>
              <a:off x="4203847" y="2296817"/>
              <a:ext cx="1097280" cy="1097280"/>
            </a:xfrm>
            <a:prstGeom prst="rtTriangle">
              <a:avLst/>
            </a:prstGeom>
            <a:solidFill>
              <a:srgbClr val="3E87C3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Right Triangle 17">
              <a:extLst>
                <a:ext uri="{FF2B5EF4-FFF2-40B4-BE49-F238E27FC236}">
                  <a16:creationId xmlns:a16="http://schemas.microsoft.com/office/drawing/2014/main" id="{748444D1-9C03-BEC5-53FC-F917F1B55977}"/>
                </a:ext>
              </a:extLst>
            </p:cNvPr>
            <p:cNvSpPr/>
            <p:nvPr/>
          </p:nvSpPr>
          <p:spPr bwMode="gray">
            <a:xfrm rot="16200000">
              <a:off x="2897589" y="2296818"/>
              <a:ext cx="1097280" cy="1097280"/>
            </a:xfrm>
            <a:prstGeom prst="rtTriangle">
              <a:avLst/>
            </a:prstGeom>
            <a:solidFill>
              <a:srgbClr val="00437A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Right Triangle 18">
              <a:extLst>
                <a:ext uri="{FF2B5EF4-FFF2-40B4-BE49-F238E27FC236}">
                  <a16:creationId xmlns:a16="http://schemas.microsoft.com/office/drawing/2014/main" id="{2DD3A609-F197-E3E2-EA2E-FD313B4E4559}"/>
                </a:ext>
              </a:extLst>
            </p:cNvPr>
            <p:cNvSpPr/>
            <p:nvPr/>
          </p:nvSpPr>
          <p:spPr bwMode="gray">
            <a:xfrm rot="5400000" flipV="1">
              <a:off x="2897588" y="3603021"/>
              <a:ext cx="1097280" cy="1097280"/>
            </a:xfrm>
            <a:prstGeom prst="rtTriangle">
              <a:avLst/>
            </a:prstGeom>
            <a:solidFill>
              <a:srgbClr val="145A95"/>
            </a:solidFill>
            <a:ln w="76200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noFill/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Right Triangle 19">
              <a:extLst>
                <a:ext uri="{FF2B5EF4-FFF2-40B4-BE49-F238E27FC236}">
                  <a16:creationId xmlns:a16="http://schemas.microsoft.com/office/drawing/2014/main" id="{5DADFF9F-647C-01BF-A1C9-1BECD4C034C3}"/>
                </a:ext>
              </a:extLst>
            </p:cNvPr>
            <p:cNvSpPr/>
            <p:nvPr/>
          </p:nvSpPr>
          <p:spPr bwMode="gray">
            <a:xfrm rot="16200000" flipH="1" flipV="1">
              <a:off x="4203847" y="3612853"/>
              <a:ext cx="1097280" cy="1097280"/>
            </a:xfrm>
            <a:prstGeom prst="rtTriangle">
              <a:avLst/>
            </a:prstGeom>
            <a:solidFill>
              <a:srgbClr val="00A9E0"/>
            </a:solid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A6AB695-0FBF-3EF2-6762-B06F111A55F8}"/>
                </a:ext>
              </a:extLst>
            </p:cNvPr>
            <p:cNvSpPr txBox="1"/>
            <p:nvPr/>
          </p:nvSpPr>
          <p:spPr bwMode="gray">
            <a:xfrm>
              <a:off x="1123672" y="1858815"/>
              <a:ext cx="2297954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>
                <a:spcBef>
                  <a:spcPts val="0"/>
                </a:spcBef>
                <a:spcAft>
                  <a:spcPts val="1200"/>
                </a:spcAft>
                <a:buNone/>
              </a:pPr>
              <a:r>
                <a:rPr lang="en-US" sz="1200" dirty="0">
                  <a:solidFill>
                    <a:srgbClr val="464547"/>
                  </a:solidFill>
                  <a:latin typeface="Calibri"/>
                </a:rPr>
                <a:t>Push to move forward liberal priorities (e.g., advancing climate and healthcare reforms), secure judicial appointments, and implementing social policie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4DB9FA5-9135-F493-F31E-9539AA08BB3E}"/>
                </a:ext>
              </a:extLst>
            </p:cNvPr>
            <p:cNvSpPr txBox="1"/>
            <p:nvPr/>
          </p:nvSpPr>
          <p:spPr bwMode="gray">
            <a:xfrm>
              <a:off x="4606055" y="1750660"/>
              <a:ext cx="2386566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uld lead to legislative gridlock, with the president relying on executive orders and vetoes, increased scrutiny, and resisting of nominee confirmations. Efforts at 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9E123FD-3C7E-3F2D-1543-1B415F180E60}"/>
                </a:ext>
              </a:extLst>
            </p:cNvPr>
            <p:cNvSpPr txBox="1"/>
            <p:nvPr/>
          </p:nvSpPr>
          <p:spPr bwMode="gray">
            <a:xfrm>
              <a:off x="4869761" y="3841739"/>
              <a:ext cx="2199632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A9E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PUBLICAN TRIFECTA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3A5B1D5-20C9-E4DE-CB8E-DF7CE5F7CCB8}"/>
                </a:ext>
              </a:extLst>
            </p:cNvPr>
            <p:cNvSpPr txBox="1"/>
            <p:nvPr/>
          </p:nvSpPr>
          <p:spPr bwMode="gray">
            <a:xfrm>
              <a:off x="1026578" y="3841739"/>
              <a:ext cx="2222500" cy="338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145A95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DIVIDED GOVERNMENT</a:t>
              </a:r>
            </a:p>
          </p:txBody>
        </p:sp>
        <p:sp>
          <p:nvSpPr>
            <p:cNvPr id="25" name="btfpNumberBubble368340">
              <a:extLst>
                <a:ext uri="{FF2B5EF4-FFF2-40B4-BE49-F238E27FC236}">
                  <a16:creationId xmlns:a16="http://schemas.microsoft.com/office/drawing/2014/main" id="{4F1CA32E-DA90-75E1-1DED-55B12AF0566A}"/>
                </a:ext>
              </a:extLst>
            </p:cNvPr>
            <p:cNvSpPr/>
            <p:nvPr/>
          </p:nvSpPr>
          <p:spPr bwMode="gray">
            <a:xfrm>
              <a:off x="3486690" y="2863127"/>
              <a:ext cx="393290" cy="393290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A</a:t>
              </a:r>
            </a:p>
          </p:txBody>
        </p:sp>
        <p:sp>
          <p:nvSpPr>
            <p:cNvPr id="26" name="btfpNumberBubble368340">
              <a:extLst>
                <a:ext uri="{FF2B5EF4-FFF2-40B4-BE49-F238E27FC236}">
                  <a16:creationId xmlns:a16="http://schemas.microsoft.com/office/drawing/2014/main" id="{73AB6B0A-7838-2F14-DA1B-3E128BA0C84D}"/>
                </a:ext>
              </a:extLst>
            </p:cNvPr>
            <p:cNvSpPr/>
            <p:nvPr/>
          </p:nvSpPr>
          <p:spPr bwMode="gray">
            <a:xfrm>
              <a:off x="4307683" y="2863127"/>
              <a:ext cx="393290" cy="39329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3E87C3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B</a:t>
              </a:r>
            </a:p>
          </p:txBody>
        </p:sp>
        <p:sp>
          <p:nvSpPr>
            <p:cNvPr id="27" name="btfpNumberBubble368340">
              <a:extLst>
                <a:ext uri="{FF2B5EF4-FFF2-40B4-BE49-F238E27FC236}">
                  <a16:creationId xmlns:a16="http://schemas.microsoft.com/office/drawing/2014/main" id="{72FE4E20-F5BA-91B4-B825-05F1F8E632A9}"/>
                </a:ext>
              </a:extLst>
            </p:cNvPr>
            <p:cNvSpPr/>
            <p:nvPr/>
          </p:nvSpPr>
          <p:spPr bwMode="gray">
            <a:xfrm>
              <a:off x="4307683" y="3728364"/>
              <a:ext cx="393290" cy="393290"/>
            </a:xfrm>
            <a:prstGeom prst="ellipse">
              <a:avLst/>
            </a:prstGeom>
            <a:solidFill>
              <a:srgbClr val="FFFFFF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A9E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A</a:t>
              </a:r>
            </a:p>
          </p:txBody>
        </p:sp>
        <p:sp>
          <p:nvSpPr>
            <p:cNvPr id="28" name="btfpNumberBubble368340">
              <a:extLst>
                <a:ext uri="{FF2B5EF4-FFF2-40B4-BE49-F238E27FC236}">
                  <a16:creationId xmlns:a16="http://schemas.microsoft.com/office/drawing/2014/main" id="{693D828D-EFC7-574E-CE25-2C0B95708B2A}"/>
                </a:ext>
              </a:extLst>
            </p:cNvPr>
            <p:cNvSpPr/>
            <p:nvPr/>
          </p:nvSpPr>
          <p:spPr bwMode="gray">
            <a:xfrm>
              <a:off x="3486690" y="3728364"/>
              <a:ext cx="393290" cy="393290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437A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B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08B4C06F-004F-480B-2842-B9CCB84287C2}"/>
                </a:ext>
              </a:extLst>
            </p:cNvPr>
            <p:cNvSpPr txBox="1"/>
            <p:nvPr/>
          </p:nvSpPr>
          <p:spPr bwMode="gray">
            <a:xfrm>
              <a:off x="5142271" y="2657289"/>
              <a:ext cx="195662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464547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bipartisanship might center on issues like infrastructure or criminal justice reform </a:t>
              </a:r>
            </a:p>
          </p:txBody>
        </p:sp>
      </p:grpSp>
      <p:sp>
        <p:nvSpPr>
          <p:cNvPr id="30" name="btfpNotesBox737723">
            <a:extLst>
              <a:ext uri="{FF2B5EF4-FFF2-40B4-BE49-F238E27FC236}">
                <a16:creationId xmlns:a16="http://schemas.microsoft.com/office/drawing/2014/main" id="{7796F97C-3DF1-691A-078A-627921097AB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5449196" y="6350643"/>
            <a:ext cx="5542825" cy="30777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Adapted from Freedman Consulting, “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10"/>
              </a:rPr>
              <a:t>Scenario Mapping &amp; Philanthropic Levers for Impact: Planning for 2025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64547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;” Bridgespan analysi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715619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AB42A45F-4661-FFD6-C051-8B047FC4F6C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130915">
              <a:extLst>
                <a:ext uri="{FF2B5EF4-FFF2-40B4-BE49-F238E27FC236}">
                  <a16:creationId xmlns:a16="http://schemas.microsoft.com/office/drawing/2014/main" id="{70DB34A5-FF58-5A0E-CD07-7EAB109C24F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1" name="btfpColumnGapBlocker887022">
              <a:extLst>
                <a:ext uri="{FF2B5EF4-FFF2-40B4-BE49-F238E27FC236}">
                  <a16:creationId xmlns:a16="http://schemas.microsoft.com/office/drawing/2014/main" id="{2AA829E3-05D9-F9FA-DDE2-97DCFAE7CA2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9" name="btfpColumnIndicator649315">
              <a:extLst>
                <a:ext uri="{FF2B5EF4-FFF2-40B4-BE49-F238E27FC236}">
                  <a16:creationId xmlns:a16="http://schemas.microsoft.com/office/drawing/2014/main" id="{863CAF6B-A706-C5CA-990A-60528581E62B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32005">
              <a:extLst>
                <a:ext uri="{FF2B5EF4-FFF2-40B4-BE49-F238E27FC236}">
                  <a16:creationId xmlns:a16="http://schemas.microsoft.com/office/drawing/2014/main" id="{0D59DF33-B49F-1AF4-ABF8-BA4322195AD3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B0C50803-7E00-2074-E083-C9107742E2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736219">
              <a:extLst>
                <a:ext uri="{FF2B5EF4-FFF2-40B4-BE49-F238E27FC236}">
                  <a16:creationId xmlns:a16="http://schemas.microsoft.com/office/drawing/2014/main" id="{59888A61-1926-87E7-F613-3FD8F7546A1B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0" name="btfpColumnGapBlocker605193">
              <a:extLst>
                <a:ext uri="{FF2B5EF4-FFF2-40B4-BE49-F238E27FC236}">
                  <a16:creationId xmlns:a16="http://schemas.microsoft.com/office/drawing/2014/main" id="{98DA2951-7AE0-56B6-70E2-FBAAFE909DE4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8" name="btfpColumnIndicator210600">
              <a:extLst>
                <a:ext uri="{FF2B5EF4-FFF2-40B4-BE49-F238E27FC236}">
                  <a16:creationId xmlns:a16="http://schemas.microsoft.com/office/drawing/2014/main" id="{3338C9B1-3F27-87CD-02C2-5402350DAE42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04112">
              <a:extLst>
                <a:ext uri="{FF2B5EF4-FFF2-40B4-BE49-F238E27FC236}">
                  <a16:creationId xmlns:a16="http://schemas.microsoft.com/office/drawing/2014/main" id="{5CD5C8DC-2314-FDC1-7756-D64ED27639D9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C745D8-3489-D076-24C9-A30C02217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3352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C745D8-3489-D076-24C9-A30C02217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868335-5EA4-7A3A-0650-4906B5916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16" y="0"/>
            <a:ext cx="11522075" cy="876687"/>
          </a:xfrm>
        </p:spPr>
        <p:txBody>
          <a:bodyPr vert="horz"/>
          <a:lstStyle/>
          <a:p>
            <a:r>
              <a:rPr lang="en-US" b="1" dirty="0"/>
              <a:t>Example Slide</a:t>
            </a:r>
            <a:r>
              <a:rPr lang="en-US" dirty="0"/>
              <a:t>: Use this diagnostic to identify areas of greatest potential impact given each election scenario</a:t>
            </a:r>
          </a:p>
        </p:txBody>
      </p:sp>
      <p:graphicFrame>
        <p:nvGraphicFramePr>
          <p:cNvPr id="5" name="btfpTable453933">
            <a:extLst>
              <a:ext uri="{FF2B5EF4-FFF2-40B4-BE49-F238E27FC236}">
                <a16:creationId xmlns:a16="http://schemas.microsoft.com/office/drawing/2014/main" id="{601D97CE-14CB-4100-4228-2CFA9CC09FB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6730621"/>
              </p:ext>
            </p:extLst>
          </p:nvPr>
        </p:nvGraphicFramePr>
        <p:xfrm>
          <a:off x="498239" y="1110303"/>
          <a:ext cx="11195521" cy="5467534"/>
        </p:xfrm>
        <a:graphic>
          <a:graphicData uri="http://schemas.openxmlformats.org/drawingml/2006/table">
            <a:tbl>
              <a:tblPr firstCol="1">
                <a:tableStyleId>{9D7B26C5-4107-4FEC-AEDC-1716B250A1EF}</a:tableStyleId>
              </a:tblPr>
              <a:tblGrid>
                <a:gridCol w="692917">
                  <a:extLst>
                    <a:ext uri="{9D8B030D-6E8A-4147-A177-3AD203B41FA5}">
                      <a16:colId xmlns:a16="http://schemas.microsoft.com/office/drawing/2014/main" val="1416866502"/>
                    </a:ext>
                  </a:extLst>
                </a:gridCol>
                <a:gridCol w="6455474">
                  <a:extLst>
                    <a:ext uri="{9D8B030D-6E8A-4147-A177-3AD203B41FA5}">
                      <a16:colId xmlns:a16="http://schemas.microsoft.com/office/drawing/2014/main" val="2835366774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4105836908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719940257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4046505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3709554829"/>
                    </a:ext>
                  </a:extLst>
                </a:gridCol>
                <a:gridCol w="809426">
                  <a:extLst>
                    <a:ext uri="{9D8B030D-6E8A-4147-A177-3AD203B41FA5}">
                      <a16:colId xmlns:a16="http://schemas.microsoft.com/office/drawing/2014/main" val="1991441226"/>
                    </a:ext>
                  </a:extLst>
                </a:gridCol>
              </a:tblGrid>
              <a:tr h="255023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900" b="1" dirty="0">
                        <a:solidFill>
                          <a:srgbClr val="FFFFFF"/>
                        </a:solidFill>
                      </a:endParaRP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71828" marR="71828" marT="35914" marB="359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For Scenario 1: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Demographic Trifecta </a:t>
                      </a:r>
                    </a:p>
                  </a:txBody>
                  <a:tcPr marL="64456" marR="64456" marT="32228" marB="32228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081718"/>
                  </a:ext>
                </a:extLst>
              </a:tr>
              <a:tr h="357836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600" b="1" i="0" dirty="0">
                          <a:solidFill>
                            <a:schemeClr val="tx1"/>
                          </a:solidFill>
                        </a:rPr>
                        <a:t>SCENARIO: Republican Trifecta</a:t>
                      </a: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Significant impact?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</a:rPr>
                        <a:t>Better than current</a:t>
                      </a:r>
                      <a:endParaRPr lang="en-GB" sz="11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Neutral 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Watch-out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Major implications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249135"/>
                  </a:ext>
                </a:extLst>
              </a:tr>
              <a:tr h="344619">
                <a:tc rowSpan="4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EGY / PROGRAMS</a:t>
                      </a:r>
                      <a:endParaRPr lang="en-US" sz="1500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00437A"/>
                          </a:solidFill>
                        </a:rPr>
                        <a:t>1. </a:t>
                      </a:r>
                      <a:r>
                        <a:rPr lang="en-US" sz="1400" b="1" dirty="0">
                          <a:solidFill>
                            <a:srgbClr val="00437A"/>
                          </a:solidFill>
                        </a:rPr>
                        <a:t>CHANGING NEEDS OF THOSE YOUR ORGANIZATION EXISTS TO SERVE: </a:t>
                      </a:r>
                      <a:br>
                        <a:rPr lang="en-US" sz="1400" b="1" dirty="0">
                          <a:solidFill>
                            <a:srgbClr val="00437A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communities or populations you work with be differentially impacted by the </a:t>
                      </a:r>
                      <a:br>
                        <a:rPr lang="en-US" sz="1100" b="0" dirty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election results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008542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303526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STRATEGY/PROGRAMMATIC APPROACH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parts of your work (e.g., direct service, policy/advocacy, technical assistance) for which the strategy/approach/goals may have to significantly shift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008542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833338"/>
                  </a:ext>
                </a:extLst>
              </a:tr>
              <a:tr h="367582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RESTRICTIONS IN DOING THE WORK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es the field (e.g., reproductive health, racial equity, LGBTQ) you work in face potential policy impacts that may create restrictions to how/where your organization can work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rgbClr val="747678"/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04745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 EXTERNAL PARTNER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uld there be an impact on those you partner with and/or those who the people you serve rely upon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510057"/>
                  </a:ext>
                </a:extLst>
              </a:tr>
              <a:tr h="344619">
                <a:tc rowSpan="3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5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PROTECTING CORE OPERATION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there be an impact </a:t>
                      </a:r>
                      <a:r>
                        <a:rPr lang="en-US" sz="1100" b="0" strike="noStrike" dirty="0">
                          <a:solidFill>
                            <a:schemeClr val="tx1"/>
                          </a:solidFill>
                        </a:rPr>
                        <a:t>on t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e ability of your organization to maintain its core operations? 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solidFill>
                          <a:schemeClr val="bg1">
                            <a:lumMod val="50000"/>
                          </a:schemeClr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120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US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658450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DIFFERENTIALLY IMPACTED STAFF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individuals on your team who might be differentially impacted and who will need additional support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47126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7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MANAGING LEADERSHIP AND ORGANIZATIONAL CAPACITY: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Will this election outcome have a differential impact on leadership and the time they will need to plan for and execute shifts? </a:t>
                      </a:r>
                      <a:endParaRPr lang="en-GB" sz="11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87605"/>
                  </a:ext>
                </a:extLst>
              </a:tr>
              <a:tr h="344619">
                <a:tc rowSpan="3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A33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48A337"/>
                          </a:solidFill>
                        </a:rPr>
                        <a:t>8. </a:t>
                      </a:r>
                      <a:r>
                        <a:rPr lang="en-US" sz="1400" b="1" dirty="0">
                          <a:solidFill>
                            <a:srgbClr val="48A337"/>
                          </a:solidFill>
                        </a:rPr>
                        <a:t>GOVERNMENT FUNDING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ow reliant is your organization on public funding, and to what extent could the election result impact the public funding that is available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600" baseline="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697219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31344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9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PHILANTHROPIC FUNDING: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concentrated are your sources of philanthropic funding, and to what extent might these be impacted? 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07521"/>
                  </a:ext>
                </a:extLst>
              </a:tr>
              <a:tr h="344619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10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EARNED REVENUE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f your organization has significant earned revenue, to what extent might there be an impact either on demand or ability/willingness to pay for your services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latin typeface="+mn-lt"/>
                        </a:rPr>
                        <a:t>N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r>
                        <a:rPr lang="en-GB" sz="1600" baseline="0" dirty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+mn-lt"/>
                        </a:rPr>
                        <a:t>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600" dirty="0">
                        <a:solidFill>
                          <a:schemeClr val="bg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14612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74573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btfpColumnIndicatorGroup2">
            <a:extLst>
              <a:ext uri="{FF2B5EF4-FFF2-40B4-BE49-F238E27FC236}">
                <a16:creationId xmlns:a16="http://schemas.microsoft.com/office/drawing/2014/main" id="{AB42A45F-4661-FFD6-C051-8B047FC4F6CE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6" name="btfpColumnGapBlocker130915">
              <a:extLst>
                <a:ext uri="{FF2B5EF4-FFF2-40B4-BE49-F238E27FC236}">
                  <a16:creationId xmlns:a16="http://schemas.microsoft.com/office/drawing/2014/main" id="{70DB34A5-FF58-5A0E-CD07-7EAB109C24F2}"/>
                </a:ext>
              </a:extLst>
            </p:cNvPr>
            <p:cNvSpPr/>
            <p:nvPr/>
          </p:nvSpPr>
          <p:spPr bwMode="gray">
            <a:xfrm>
              <a:off x="12014200" y="692658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1" name="btfpColumnGapBlocker887022">
              <a:extLst>
                <a:ext uri="{FF2B5EF4-FFF2-40B4-BE49-F238E27FC236}">
                  <a16:creationId xmlns:a16="http://schemas.microsoft.com/office/drawing/2014/main" id="{2AA829E3-05D9-F9FA-DDE2-97DCFAE7CA20}"/>
                </a:ext>
              </a:extLst>
            </p:cNvPr>
            <p:cNvSpPr/>
            <p:nvPr/>
          </p:nvSpPr>
          <p:spPr bwMode="gray">
            <a:xfrm>
              <a:off x="0" y="692658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9" name="btfpColumnIndicator649315">
              <a:extLst>
                <a:ext uri="{FF2B5EF4-FFF2-40B4-BE49-F238E27FC236}">
                  <a16:creationId xmlns:a16="http://schemas.microsoft.com/office/drawing/2014/main" id="{863CAF6B-A706-C5CA-990A-60528581E62B}"/>
                </a:ext>
              </a:extLst>
            </p:cNvPr>
            <p:cNvCxnSpPr/>
            <p:nvPr/>
          </p:nvCxnSpPr>
          <p:spPr>
            <a:xfrm flipV="1">
              <a:off x="12014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btfpColumnIndicator332005">
              <a:extLst>
                <a:ext uri="{FF2B5EF4-FFF2-40B4-BE49-F238E27FC236}">
                  <a16:creationId xmlns:a16="http://schemas.microsoft.com/office/drawing/2014/main" id="{0D59DF33-B49F-1AF4-ABF8-BA4322195AD3}"/>
                </a:ext>
              </a:extLst>
            </p:cNvPr>
            <p:cNvCxnSpPr/>
            <p:nvPr/>
          </p:nvCxnSpPr>
          <p:spPr>
            <a:xfrm flipV="1">
              <a:off x="4699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btfpColumnIndicatorGroup1">
            <a:extLst>
              <a:ext uri="{FF2B5EF4-FFF2-40B4-BE49-F238E27FC236}">
                <a16:creationId xmlns:a16="http://schemas.microsoft.com/office/drawing/2014/main" id="{B0C50803-7E00-2074-E083-C9107742E21F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2" name="btfpColumnGapBlocker736219">
              <a:extLst>
                <a:ext uri="{FF2B5EF4-FFF2-40B4-BE49-F238E27FC236}">
                  <a16:creationId xmlns:a16="http://schemas.microsoft.com/office/drawing/2014/main" id="{59888A61-1926-87E7-F613-3FD8F7546A1B}"/>
                </a:ext>
              </a:extLst>
            </p:cNvPr>
            <p:cNvSpPr/>
            <p:nvPr/>
          </p:nvSpPr>
          <p:spPr bwMode="gray">
            <a:xfrm>
              <a:off x="12014200" y="-205740"/>
              <a:ext cx="1778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sp>
          <p:nvSpPr>
            <p:cNvPr id="10" name="btfpColumnGapBlocker605193">
              <a:extLst>
                <a:ext uri="{FF2B5EF4-FFF2-40B4-BE49-F238E27FC236}">
                  <a16:creationId xmlns:a16="http://schemas.microsoft.com/office/drawing/2014/main" id="{98DA2951-7AE0-56B6-70E2-FBAAFE909DE4}"/>
                </a:ext>
              </a:extLst>
            </p:cNvPr>
            <p:cNvSpPr/>
            <p:nvPr/>
          </p:nvSpPr>
          <p:spPr bwMode="gray">
            <a:xfrm>
              <a:off x="0" y="-205740"/>
              <a:ext cx="4699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222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2"/>
                </a:solidFill>
              </a:endParaRPr>
            </a:p>
          </p:txBody>
        </p:sp>
        <p:cxnSp>
          <p:nvCxnSpPr>
            <p:cNvPr id="8" name="btfpColumnIndicator210600">
              <a:extLst>
                <a:ext uri="{FF2B5EF4-FFF2-40B4-BE49-F238E27FC236}">
                  <a16:creationId xmlns:a16="http://schemas.microsoft.com/office/drawing/2014/main" id="{3338C9B1-3F27-87CD-02C2-5402350DAE42}"/>
                </a:ext>
              </a:extLst>
            </p:cNvPr>
            <p:cNvCxnSpPr/>
            <p:nvPr/>
          </p:nvCxnSpPr>
          <p:spPr>
            <a:xfrm flipV="1">
              <a:off x="12014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804112">
              <a:extLst>
                <a:ext uri="{FF2B5EF4-FFF2-40B4-BE49-F238E27FC236}">
                  <a16:creationId xmlns:a16="http://schemas.microsoft.com/office/drawing/2014/main" id="{5CD5C8DC-2314-FDC1-7756-D64ED27639D9}"/>
                </a:ext>
              </a:extLst>
            </p:cNvPr>
            <p:cNvCxnSpPr/>
            <p:nvPr/>
          </p:nvCxnSpPr>
          <p:spPr>
            <a:xfrm flipV="1">
              <a:off x="4699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bevel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E2C745D8-3489-D076-24C9-A30C022173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27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04" imgH="405" progId="TCLayout.ActiveDocument.1">
                  <p:embed/>
                </p:oleObj>
              </mc:Choice>
              <mc:Fallback>
                <p:oleObj name="think-cell Slide" r:id="rId6" imgW="404" imgH="405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C745D8-3489-D076-24C9-A30C02217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E868335-5EA4-7A3A-0650-4906B59167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6316" y="0"/>
            <a:ext cx="11522075" cy="876687"/>
          </a:xfrm>
        </p:spPr>
        <p:txBody>
          <a:bodyPr vert="horz"/>
          <a:lstStyle/>
          <a:p>
            <a:r>
              <a:rPr lang="en-US" b="1" dirty="0"/>
              <a:t>Election Scenario Template</a:t>
            </a:r>
            <a:endParaRPr lang="en-US" dirty="0"/>
          </a:p>
        </p:txBody>
      </p:sp>
      <p:graphicFrame>
        <p:nvGraphicFramePr>
          <p:cNvPr id="5" name="btfpTable453933">
            <a:extLst>
              <a:ext uri="{FF2B5EF4-FFF2-40B4-BE49-F238E27FC236}">
                <a16:creationId xmlns:a16="http://schemas.microsoft.com/office/drawing/2014/main" id="{601D97CE-14CB-4100-4228-2CFA9CC09FB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3655558"/>
              </p:ext>
            </p:extLst>
          </p:nvPr>
        </p:nvGraphicFramePr>
        <p:xfrm>
          <a:off x="469900" y="1116097"/>
          <a:ext cx="11522074" cy="5447333"/>
        </p:xfrm>
        <a:graphic>
          <a:graphicData uri="http://schemas.openxmlformats.org/drawingml/2006/table">
            <a:tbl>
              <a:tblPr firstCol="1">
                <a:tableStyleId>{9D7B26C5-4107-4FEC-AEDC-1716B250A1EF}</a:tableStyleId>
              </a:tblPr>
              <a:tblGrid>
                <a:gridCol w="713129">
                  <a:extLst>
                    <a:ext uri="{9D8B030D-6E8A-4147-A177-3AD203B41FA5}">
                      <a16:colId xmlns:a16="http://schemas.microsoft.com/office/drawing/2014/main" val="1416866502"/>
                    </a:ext>
                  </a:extLst>
                </a:gridCol>
                <a:gridCol w="6643770">
                  <a:extLst>
                    <a:ext uri="{9D8B030D-6E8A-4147-A177-3AD203B41FA5}">
                      <a16:colId xmlns:a16="http://schemas.microsoft.com/office/drawing/2014/main" val="2835366774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4105836908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719940257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4046505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3709554829"/>
                    </a:ext>
                  </a:extLst>
                </a:gridCol>
                <a:gridCol w="833035">
                  <a:extLst>
                    <a:ext uri="{9D8B030D-6E8A-4147-A177-3AD203B41FA5}">
                      <a16:colId xmlns:a16="http://schemas.microsoft.com/office/drawing/2014/main" val="1991441226"/>
                    </a:ext>
                  </a:extLst>
                </a:gridCol>
              </a:tblGrid>
              <a:tr h="316989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rowSpan="2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endParaRPr lang="en-US" sz="1400" b="1" dirty="0">
                        <a:solidFill>
                          <a:schemeClr val="bg2"/>
                        </a:solidFill>
                      </a:endParaRPr>
                    </a:p>
                  </a:txBody>
                  <a:tcPr marL="52520" marR="52520" marT="26259" marB="26259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71828" marR="71828" marT="35914" marB="359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For Scenario 1: </a:t>
                      </a:r>
                      <a:r>
                        <a:rPr lang="en-US" sz="1400" b="0">
                          <a:solidFill>
                            <a:schemeClr val="tx1"/>
                          </a:solidFill>
                        </a:rPr>
                        <a:t>Demographic Trifecta </a:t>
                      </a:r>
                    </a:p>
                  </a:txBody>
                  <a:tcPr marL="64456" marR="64456" marT="32228" marB="32228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 algn="ctr">
                        <a:buFontTx/>
                        <a:buNone/>
                      </a:pPr>
                      <a:endParaRPr lang="en-US" sz="1400" b="1">
                        <a:solidFill>
                          <a:srgbClr val="FFFFFF"/>
                        </a:solidFill>
                      </a:endParaRPr>
                    </a:p>
                  </a:txBody>
                  <a:tcPr marL="76136" marR="76136" marT="38068" marB="38068" anchor="ctr">
                    <a:lnL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854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96081718"/>
                  </a:ext>
                </a:extLst>
              </a:tr>
              <a:tr h="444784">
                <a:tc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800" b="0" dirty="0">
                        <a:effectLst/>
                      </a:endParaRPr>
                    </a:p>
                  </a:txBody>
                  <a:tcPr marL="58115" marR="58115" marT="29057" marB="29057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464547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uld drive swift legislative action on progressive priorities, advance climate and healthcare reforms, secure judicial appointments, and implement social policies </a:t>
                      </a:r>
                    </a:p>
                  </a:txBody>
                  <a:tcPr marL="52520" marR="52520" marT="26259" marB="26259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Significant impact?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US" sz="1100" b="1" dirty="0">
                          <a:solidFill>
                            <a:schemeClr val="tx2"/>
                          </a:solidFill>
                        </a:rPr>
                        <a:t>Better than current</a:t>
                      </a:r>
                      <a:endParaRPr lang="en-GB" sz="1100" b="1" dirty="0">
                        <a:solidFill>
                          <a:schemeClr val="tx2"/>
                        </a:solidFill>
                      </a:endParaRP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Neutral 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Watch-out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>
                        <a:spcBef>
                          <a:spcPts val="4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100" b="1" dirty="0">
                          <a:solidFill>
                            <a:schemeClr val="tx2"/>
                          </a:solidFill>
                        </a:rPr>
                        <a:t>Major implications</a:t>
                      </a:r>
                    </a:p>
                  </a:txBody>
                  <a:tcPr marL="0" marR="0" marT="43133" marB="43133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5249135"/>
                  </a:ext>
                </a:extLst>
              </a:tr>
              <a:tr h="468556">
                <a:tc rowSpan="4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RATEGY / PROGRAMS</a:t>
                      </a:r>
                      <a:endParaRPr lang="en-US" sz="1500" b="0" dirty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437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00437A"/>
                          </a:solidFill>
                        </a:rPr>
                        <a:t>1. </a:t>
                      </a:r>
                      <a:r>
                        <a:rPr lang="en-US" sz="1400" b="1" dirty="0">
                          <a:solidFill>
                            <a:srgbClr val="00437A"/>
                          </a:solidFill>
                        </a:rPr>
                        <a:t>CHANGING NEEDS OF THOSE YOUR ORGANIZATION EXISTS TO SERVE: </a:t>
                      </a:r>
                      <a:br>
                        <a:rPr lang="en-US" sz="1400" b="1" dirty="0">
                          <a:solidFill>
                            <a:srgbClr val="00437A"/>
                          </a:solidFill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communities or populations you work with be differentially impacted by the election results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303526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2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STRATEGY/PROGRAMMATIC APPROACH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parts of your work (e.g., direct service, policy/advocacy, technical assistance) for which the strategy/approach/goals may have to significantly shift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4833338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RESTRICTIONS IN DOING THE WORK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Does the field (e.g., reproductive health, racial equity, LGBTQ) you work in face potential policy impacts that may create restrictions to how/where your organization can work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8047450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rtl="0">
                        <a:buNone/>
                      </a:pPr>
                      <a:endParaRPr lang="en-US" sz="1300" b="0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r>
                        <a:rPr lang="en-US" sz="1400" b="1" kern="1200" dirty="0">
                          <a:solidFill>
                            <a:srgbClr val="00437A"/>
                          </a:solidFill>
                          <a:latin typeface="+mn-lt"/>
                          <a:ea typeface="+mn-ea"/>
                          <a:cs typeface="+mn-cs"/>
                        </a:rPr>
                        <a:t> EXTERNAL PARTNER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Would there be an impact on those you partner with and/or those who the people you serve rely upon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2510057"/>
                  </a:ext>
                </a:extLst>
              </a:tr>
              <a:tr h="468556">
                <a:tc rowSpan="3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9E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5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PROTECTING CORE OPERATIONS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To what extent might there be an impact </a:t>
                      </a:r>
                      <a:r>
                        <a:rPr lang="en-US" sz="1100" b="0" strike="noStrike" dirty="0">
                          <a:solidFill>
                            <a:schemeClr val="tx1"/>
                          </a:solidFill>
                        </a:rPr>
                        <a:t>on t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he ability of your organization to maintain its core operations? 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None/>
                      </a:pPr>
                      <a:endParaRPr lang="en-GB" sz="120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3658450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perations</a:t>
                      </a: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6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DIFFERENTIALLY IMPACTED STAFF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Are there individuals on your team who might be differentially impacted and who will need additional support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347126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7. </a:t>
                      </a:r>
                      <a:r>
                        <a:rPr lang="en-US" sz="1400" b="1" kern="1200" dirty="0">
                          <a:solidFill>
                            <a:srgbClr val="00A9E0"/>
                          </a:solidFill>
                          <a:latin typeface="+mn-lt"/>
                          <a:ea typeface="+mn-ea"/>
                          <a:cs typeface="+mn-cs"/>
                        </a:rPr>
                        <a:t>MANAGING LEADERSHIP AND ORGANIZATIONAL CAPACITY: </a:t>
                      </a:r>
                      <a:r>
                        <a:rPr lang="en-US" sz="1100" b="0" i="0" dirty="0">
                          <a:solidFill>
                            <a:schemeClr val="tx1"/>
                          </a:solidFill>
                        </a:rPr>
                        <a:t>Will this election outcome have a differential impact on leadership and the time they will need to plan for and execute shifts? </a:t>
                      </a:r>
                      <a:endParaRPr lang="en-GB" sz="1100" b="0" i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87605"/>
                  </a:ext>
                </a:extLst>
              </a:tr>
              <a:tr h="468556">
                <a:tc rowSpan="3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</a:txBody>
                  <a:tcPr marL="71828" marR="71828" marT="35914" marB="35914" vert="vert27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A337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dirty="0">
                          <a:solidFill>
                            <a:srgbClr val="48A337"/>
                          </a:solidFill>
                        </a:rPr>
                        <a:t>8. </a:t>
                      </a:r>
                      <a:r>
                        <a:rPr lang="en-US" sz="1400" b="1" dirty="0">
                          <a:solidFill>
                            <a:srgbClr val="48A337"/>
                          </a:solidFill>
                        </a:rPr>
                        <a:t>GOVERNMENT FUNDING</a:t>
                      </a:r>
                      <a:r>
                        <a:rPr lang="en-US" sz="1400" b="1">
                          <a:solidFill>
                            <a:srgbClr val="48A337"/>
                          </a:solidFill>
                        </a:rPr>
                        <a:t>: </a:t>
                      </a:r>
                      <a:r>
                        <a:rPr lang="en-US" sz="1100" b="0">
                          <a:solidFill>
                            <a:schemeClr val="tx1"/>
                          </a:solidFill>
                        </a:rPr>
                        <a:t>How reliant is your organization on public funding, and to what extent could the election outcome impact the public funding that is available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9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1331344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marR="0" lvl="0" indent="0" algn="ctr" defTabSz="697219" rtl="0" eaLnBrk="1" fontAlgn="auto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 u="none" strike="noStrike" kern="120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ancial </a:t>
                      </a:r>
                    </a:p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711200" rtl="0" eaLnBrk="1" latinLnBrk="0" hangingPunct="1">
                        <a:spcBef>
                          <a:spcPts val="528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9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PHILANTHROPIC FUNDING: </a:t>
                      </a: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ow concentrated are your sources of philanthropic funding, and to what extent might these be impacted? </a:t>
                      </a:r>
                      <a:endParaRPr lang="en-GB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2307521"/>
                  </a:ext>
                </a:extLst>
              </a:tr>
              <a:tr h="468556">
                <a:tc vMerge="1">
                  <a:txBody>
                    <a:bodyPr/>
                    <a:lstStyle/>
                    <a:p>
                      <a:pPr marL="0" indent="0" algn="ctr" defTabSz="697219" rtl="0" eaLnBrk="1" latinLnBrk="0" hangingPunct="1">
                        <a:spcBef>
                          <a:spcPts val="1200"/>
                        </a:spcBef>
                        <a:buFontTx/>
                        <a:buNone/>
                      </a:pPr>
                      <a:endParaRPr lang="en-US" sz="1400" b="1" i="0" u="none" strike="noStrike" kern="1200">
                        <a:solidFill>
                          <a:srgbClr val="FFFFFF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6136" marR="76136" marT="38068" marB="38068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2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AB8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11200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10. </a:t>
                      </a:r>
                      <a:r>
                        <a:rPr lang="en-US" sz="1400" b="1" kern="1200" dirty="0">
                          <a:solidFill>
                            <a:srgbClr val="48A337"/>
                          </a:solidFill>
                          <a:latin typeface="+mn-lt"/>
                          <a:ea typeface="+mn-ea"/>
                          <a:cs typeface="+mn-cs"/>
                        </a:rPr>
                        <a:t>EARNED REVENUE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</a:rPr>
                        <a:t>If your organization has significant earned revenue, to what extent might there be an impact either on demand or ability/willingness to pay for your services?</a:t>
                      </a:r>
                      <a:endParaRPr lang="en-GB" sz="1100" b="0" dirty="0">
                        <a:solidFill>
                          <a:schemeClr val="tx1"/>
                        </a:solidFill>
                      </a:endParaRPr>
                    </a:p>
                  </a:txBody>
                  <a:tcPr marL="63076" marR="63076" marT="31538" marB="31538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AC9A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11200" rtl="0" eaLnBrk="1" fontAlgn="ctr" latinLnBrk="0" hangingPunct="1">
                        <a:spcBef>
                          <a:spcPts val="0"/>
                        </a:spcBef>
                        <a:buSzPct val="180000"/>
                        <a:buFont typeface="Arial" panose="020B0604020202020204" pitchFamily="34" charset="0"/>
                        <a:buBlip>
                          <a:blip r:embed="rId8"/>
                        </a:buBlip>
                      </a:pPr>
                      <a:endParaRPr lang="en-GB" sz="1200" baseline="0" dirty="0"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EC3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spcBef>
                          <a:spcPts val="0"/>
                        </a:spcBef>
                        <a:buFontTx/>
                        <a:buNone/>
                      </a:pPr>
                      <a:endParaRPr lang="en-GB" sz="1200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2146129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3ECC739-F6A6-98E7-FDF1-5501D691F5DB}"/>
              </a:ext>
            </a:extLst>
          </p:cNvPr>
          <p:cNvSpPr txBox="1"/>
          <p:nvPr/>
        </p:nvSpPr>
        <p:spPr bwMode="gray">
          <a:xfrm>
            <a:off x="469900" y="898800"/>
            <a:ext cx="11522073" cy="31892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1600" i="1" dirty="0"/>
              <a:t>Use this blank template to capture potential impacts for each scenario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AF2E4C-F19C-B5DD-0DB4-B4224DAA6515}"/>
              </a:ext>
            </a:extLst>
          </p:cNvPr>
          <p:cNvSpPr txBox="1"/>
          <p:nvPr/>
        </p:nvSpPr>
        <p:spPr bwMode="gray">
          <a:xfrm>
            <a:off x="1296139" y="1295899"/>
            <a:ext cx="3994951" cy="34970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indent="0" algn="l">
              <a:spcBef>
                <a:spcPts val="1200"/>
              </a:spcBef>
              <a:buNone/>
            </a:pPr>
            <a:r>
              <a:rPr lang="en-US" sz="1800" b="1" dirty="0"/>
              <a:t>SCENARIO:  </a:t>
            </a:r>
            <a:r>
              <a:rPr lang="en-US" b="1" dirty="0"/>
              <a:t>Republican Trifecta</a:t>
            </a:r>
            <a:endParaRPr lang="en-US" sz="1800" b="1" dirty="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3D37C20-B26F-F2D4-1691-C10A7DBD26CE}"/>
              </a:ext>
            </a:extLst>
          </p:cNvPr>
          <p:cNvCxnSpPr>
            <a:cxnSpLocks/>
          </p:cNvCxnSpPr>
          <p:nvPr/>
        </p:nvCxnSpPr>
        <p:spPr>
          <a:xfrm>
            <a:off x="2379215" y="1615734"/>
            <a:ext cx="3098308" cy="0"/>
          </a:xfrm>
          <a:prstGeom prst="line">
            <a:avLst/>
          </a:prstGeom>
          <a:ln w="19050" cap="flat">
            <a:solidFill>
              <a:schemeClr val="bg2"/>
            </a:solidFill>
            <a:beve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386010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0"/>
  <p:tag name="ARTICULATE_SLIDE_THUMBNAIL_REFRESH" val="1"/>
  <p:tag name="ARTICULATE_PROJECT_OPEN" val="0"/>
  <p:tag name="MEKKOFORMATS" val="&lt;MekkoFormats&gt;&lt;NumberFormat DecimalSeparator=&quot;.&quot; ThousandSeparator=&quot;,&quot; NegativeNumberFormat=&quot;1&quot; /&gt;&lt;Font&gt;&lt;Output_Font_Name Default=&quot;Arial&quot; UsePPTTheme=&quot;True&quot; /&gt;&lt;/Font&gt;&lt;DateFormat CultureID=&quot;1033&quot; FormatString=&quot;M/d/yyyy&quot; /&gt;&lt;/MekkoFormats&gt;"/>
  <p:tag name="BTFPCOLUMNGUIDE" val="Visible"/>
  <p:tag name="OFFICE" val="Bridgespan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Bridgespan Core (16_9)">
  <a:themeElements>
    <a:clrScheme name="Bridgespan">
      <a:dk1>
        <a:srgbClr val="464547"/>
      </a:dk1>
      <a:lt1>
        <a:srgbClr val="D0D1D3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70CDE3"/>
      </a:accent6>
      <a:hlink>
        <a:srgbClr val="00A9E0"/>
      </a:hlink>
      <a:folHlink>
        <a:srgbClr val="00A9E0"/>
      </a:folHlink>
    </a:clrScheme>
    <a:fontScheme name="Bridgespa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rgbClr val="00A9E0"/>
        </a:solidFill>
        <a:ln w="22225" cap="flat" cmpd="sng" algn="ctr">
          <a:noFill/>
          <a:prstDash val="solid"/>
          <a:miter lim="800000"/>
          <a:headEnd type="none" w="med" len="med"/>
          <a:tailEnd type="none" w="med" len="med"/>
        </a:ln>
      </a:spPr>
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 cap="flat">
          <a:solidFill>
            <a:schemeClr val="accent1"/>
          </a:solidFill>
          <a:bevel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 algn="l">
          <a:spcBef>
            <a:spcPts val="1200"/>
          </a:spcBef>
          <a:buNone/>
          <a:defRPr sz="18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ridgespan Core (16_9).potx [Read-Only]" id="{2C98F80E-6FFB-44B3-96FC-3D853575BDDA}" vid="{51B6DDC0-0D75-40B1-8E1F-5BB049B0AB3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26A7039F77164A99ECB42D69D04142" ma:contentTypeVersion="15" ma:contentTypeDescription="Create a new document." ma:contentTypeScope="" ma:versionID="87be1b0d0b77412cdcddef2534cabe3f">
  <xsd:schema xmlns:xsd="http://www.w3.org/2001/XMLSchema" xmlns:xs="http://www.w3.org/2001/XMLSchema" xmlns:p="http://schemas.microsoft.com/office/2006/metadata/properties" xmlns:ns2="944137c6-982e-4b85-a61a-d52bd9747d86" xmlns:ns3="ecec72db-670c-4f19-8626-7c089f66f23b" targetNamespace="http://schemas.microsoft.com/office/2006/metadata/properties" ma:root="true" ma:fieldsID="0f8f40cff6dbc0253fd2eecb40c4cc1a" ns2:_="" ns3:_="">
    <xsd:import namespace="944137c6-982e-4b85-a61a-d52bd9747d86"/>
    <xsd:import namespace="ecec72db-670c-4f19-8626-7c089f66f2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4137c6-982e-4b85-a61a-d52bd9747d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ec72db-670c-4f19-8626-7c089f66f23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5ad472-dd72-409d-80b7-f2a17a3c6a09}" ma:internalName="TaxCatchAll" ma:showField="CatchAllData" ma:web="ecec72db-670c-4f19-8626-7c089f66f23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cec72db-670c-4f19-8626-7c089f66f23b" xsi:nil="true"/>
    <lcf76f155ced4ddcb4097134ff3c332f xmlns="944137c6-982e-4b85-a61a-d52bd9747d86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715ACAE-35FD-471F-A366-FB586BB950D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44137c6-982e-4b85-a61a-d52bd9747d86"/>
    <ds:schemaRef ds:uri="ecec72db-670c-4f19-8626-7c089f66f2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D0099B9-3A56-4A00-BEE2-FFDA9FF8B9A0}">
  <ds:schemaRefs>
    <ds:schemaRef ds:uri="http://purl.org/dc/terms/"/>
    <ds:schemaRef ds:uri="http://schemas.microsoft.com/office/infopath/2007/PartnerControls"/>
    <ds:schemaRef ds:uri="http://www.w3.org/XML/1998/namespace"/>
    <ds:schemaRef ds:uri="http://schemas.microsoft.com/office/2006/documentManagement/types"/>
    <ds:schemaRef ds:uri="http://purl.org/dc/dcmitype/"/>
    <ds:schemaRef ds:uri="dccabaf3-8dc4-46eb-a9b7-6eb509abbc79"/>
    <ds:schemaRef ds:uri="http://purl.org/dc/elements/1.1/"/>
    <ds:schemaRef ds:uri="http://schemas.openxmlformats.org/package/2006/metadata/core-properties"/>
    <ds:schemaRef ds:uri="0baaf45f-6e79-4713-88f9-ff2b142681b9"/>
    <ds:schemaRef ds:uri="http://schemas.microsoft.com/office/2006/metadata/properties"/>
    <ds:schemaRef ds:uri="ecec72db-670c-4f19-8626-7c089f66f23b"/>
    <ds:schemaRef ds:uri="944137c6-982e-4b85-a61a-d52bd9747d86"/>
  </ds:schemaRefs>
</ds:datastoreItem>
</file>

<file path=customXml/itemProps3.xml><?xml version="1.0" encoding="utf-8"?>
<ds:datastoreItem xmlns:ds="http://schemas.openxmlformats.org/officeDocument/2006/customXml" ds:itemID="{37390B42-EC59-4F7B-A691-4898385C867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idgespan Core (16_9)</Template>
  <TotalTime>1898</TotalTime>
  <Words>1004</Words>
  <Application>Microsoft Office PowerPoint</Application>
  <PresentationFormat>Widescreen</PresentationFormat>
  <Paragraphs>85</Paragraphs>
  <Slides>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Arial</vt:lpstr>
      <vt:lpstr>Calibri</vt:lpstr>
      <vt:lpstr>Bridgespan Core (16_9)</vt:lpstr>
      <vt:lpstr>think-cell Slide</vt:lpstr>
      <vt:lpstr>Election Results Scenario diagnostic tool</vt:lpstr>
      <vt:lpstr>How to Use This Tool</vt:lpstr>
      <vt:lpstr>Example Slide: Use this diagnostic to identify areas of greatest potential impact given each election scenario</vt:lpstr>
      <vt:lpstr>Election Scenario Templ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hta, Nishi</dc:creator>
  <cp:lastModifiedBy>Matthews, Carole</cp:lastModifiedBy>
  <cp:revision>12</cp:revision>
  <cp:lastPrinted>2017-02-15T14:23:56Z</cp:lastPrinted>
  <dcterms:created xsi:type="dcterms:W3CDTF">2024-08-15T21:18:56Z</dcterms:created>
  <dcterms:modified xsi:type="dcterms:W3CDTF">2024-11-27T14:3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75BE6827-2C01-4A24-B581-34AEC1ACBB6F</vt:lpwstr>
  </property>
  <property fmtid="{D5CDD505-2E9C-101B-9397-08002B2CF9AE}" pid="3" name="ArticulatePath">
    <vt:lpwstr>Bain Core Client Master Template (16_9)</vt:lpwstr>
  </property>
  <property fmtid="{D5CDD505-2E9C-101B-9397-08002B2CF9AE}" pid="4" name="ContentTypeId">
    <vt:lpwstr>0x01010038CDB6627D8C0E44B7F9DB6FE318203A</vt:lpwstr>
  </property>
  <property fmtid="{D5CDD505-2E9C-101B-9397-08002B2CF9AE}" pid="5" name="MediaServiceImageTags">
    <vt:lpwstr/>
  </property>
</Properties>
</file>